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3"/>
  </p:notesMasterIdLst>
  <p:sldIdLst>
    <p:sldId id="269" r:id="rId5"/>
    <p:sldId id="297" r:id="rId6"/>
    <p:sldId id="266" r:id="rId7"/>
    <p:sldId id="523" r:id="rId8"/>
    <p:sldId id="525" r:id="rId9"/>
    <p:sldId id="372" r:id="rId10"/>
    <p:sldId id="526" r:id="rId11"/>
    <p:sldId id="477" r:id="rId12"/>
    <p:sldId id="488" r:id="rId13"/>
    <p:sldId id="489" r:id="rId14"/>
    <p:sldId id="490" r:id="rId15"/>
    <p:sldId id="512" r:id="rId16"/>
    <p:sldId id="514" r:id="rId17"/>
    <p:sldId id="515" r:id="rId18"/>
    <p:sldId id="516" r:id="rId19"/>
    <p:sldId id="517" r:id="rId20"/>
    <p:sldId id="518" r:id="rId21"/>
    <p:sldId id="491" r:id="rId22"/>
    <p:sldId id="494" r:id="rId23"/>
    <p:sldId id="495" r:id="rId24"/>
    <p:sldId id="492" r:id="rId25"/>
    <p:sldId id="493" r:id="rId26"/>
    <p:sldId id="505" r:id="rId27"/>
    <p:sldId id="506" r:id="rId28"/>
    <p:sldId id="507" r:id="rId29"/>
    <p:sldId id="509" r:id="rId30"/>
    <p:sldId id="496" r:id="rId31"/>
    <p:sldId id="520" r:id="rId32"/>
    <p:sldId id="497" r:id="rId33"/>
    <p:sldId id="432" r:id="rId34"/>
    <p:sldId id="469" r:id="rId35"/>
    <p:sldId id="527" r:id="rId36"/>
    <p:sldId id="529" r:id="rId37"/>
    <p:sldId id="530" r:id="rId38"/>
    <p:sldId id="531" r:id="rId39"/>
    <p:sldId id="519" r:id="rId40"/>
    <p:sldId id="433" r:id="rId41"/>
    <p:sldId id="417" r:id="rId42"/>
  </p:sldIdLst>
  <p:sldSz cx="9144000" cy="6858000" type="screen4x3"/>
  <p:notesSz cx="6805613" cy="9939338"/>
  <p:custDataLst>
    <p:tags r:id="rId4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CC"/>
    <a:srgbClr val="009650"/>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5" autoAdjust="0"/>
    <p:restoredTop sz="86884" autoAdjust="0"/>
  </p:normalViewPr>
  <p:slideViewPr>
    <p:cSldViewPr snapToObjects="1">
      <p:cViewPr varScale="1">
        <p:scale>
          <a:sx n="97" d="100"/>
          <a:sy n="97" d="100"/>
        </p:scale>
        <p:origin x="2196" y="7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77" d="100"/>
          <a:sy n="77" d="100"/>
        </p:scale>
        <p:origin x="314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7/6</a:t>
            </a:fld>
            <a:endParaRPr kumimoji="1" lang="ja-JP" altLang="en-US"/>
          </a:p>
        </p:txBody>
      </p:sp>
      <p:sp>
        <p:nvSpPr>
          <p:cNvPr id="4" name="スライド イメージ プレースホルダー 3"/>
          <p:cNvSpPr>
            <a:spLocks noGrp="1" noRot="1" noChangeAspect="1"/>
          </p:cNvSpPr>
          <p:nvPr>
            <p:ph type="sldImg" idx="2"/>
          </p:nvPr>
        </p:nvSpPr>
        <p:spPr>
          <a:xfrm>
            <a:off x="1001954" y="576000"/>
            <a:ext cx="4801704" cy="36000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414806" y="4320000"/>
            <a:ext cx="5976000" cy="5184000"/>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0" userDrawn="1">
          <p15:clr>
            <a:srgbClr val="F26B43"/>
          </p15:clr>
        </p15:guide>
        <p15:guide id="2" pos="214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956589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dirty="0"/>
          </a:p>
        </p:txBody>
      </p:sp>
    </p:spTree>
    <p:extLst>
      <p:ext uri="{BB962C8B-B14F-4D97-AF65-F5344CB8AC3E}">
        <p14:creationId xmlns:p14="http://schemas.microsoft.com/office/powerpoint/2010/main" val="31582018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dirty="0"/>
          </a:p>
        </p:txBody>
      </p:sp>
    </p:spTree>
    <p:extLst>
      <p:ext uri="{BB962C8B-B14F-4D97-AF65-F5344CB8AC3E}">
        <p14:creationId xmlns:p14="http://schemas.microsoft.com/office/powerpoint/2010/main" val="3657426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03669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10" Type="http://schemas.microsoft.com/office/2007/relationships/hdphoto" Target="../media/hdphoto2.wdp"/><Relationship Id="rId4" Type="http://schemas.openxmlformats.org/officeDocument/2006/relationships/image" Target="../media/image76.png"/><Relationship Id="rId9" Type="http://schemas.openxmlformats.org/officeDocument/2006/relationships/image" Target="../media/image80.png"/></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83.png"/><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5.jpg"/><Relationship Id="rId4" Type="http://schemas.openxmlformats.org/officeDocument/2006/relationships/image" Target="../media/image76.png"/><Relationship Id="rId9" Type="http://schemas.openxmlformats.org/officeDocument/2006/relationships/image" Target="../media/image84.jpg"/></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7.png"/><Relationship Id="rId7"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757590" y="2529000"/>
            <a:ext cx="762882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スマホで年金の情報を</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確認しよう（ねんきんネット）</a:t>
            </a:r>
            <a:endParaRPr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4" name="図 3" descr="「デジタル活用支援推進事業」を表すロゴマーク">
            <a:extLst>
              <a:ext uri="{FF2B5EF4-FFF2-40B4-BE49-F238E27FC236}">
                <a16:creationId xmlns:a16="http://schemas.microsoft.com/office/drawing/2014/main" id="{F04EB8B7-EDE6-4F02-958D-F93C7CBDA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6315BBDD-C032-453F-70BF-115536D4F57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26499" y="2640952"/>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856E5780-4C7E-76FD-991D-6DBCCE3500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7DB3FDAE-8EEF-425A-EA36-10C37F27512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28" name="字幕 14">
            <a:extLst>
              <a:ext uri="{FF2B5EF4-FFF2-40B4-BE49-F238E27FC236}">
                <a16:creationId xmlns:a16="http://schemas.microsoft.com/office/drawing/2014/main" id="{B9E80E22-7C16-E148-A6F8-C3F23654BE4E}"/>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iPhone</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29" name="四角形: 角を丸くする 28">
            <a:extLst>
              <a:ext uri="{FF2B5EF4-FFF2-40B4-BE49-F238E27FC236}">
                <a16:creationId xmlns:a16="http://schemas.microsoft.com/office/drawing/2014/main" id="{DE7ADAF8-D8AA-4A1C-4CAB-59EEBC35F24F}"/>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DFD3A8E1-19DC-BF9E-5A40-ED0747E173FF}"/>
              </a:ext>
            </a:extLst>
          </p:cNvPr>
          <p:cNvSpPr/>
          <p:nvPr/>
        </p:nvSpPr>
        <p:spPr>
          <a:xfrm>
            <a:off x="3819468"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矢印: 右 30">
            <a:extLst>
              <a:ext uri="{FF2B5EF4-FFF2-40B4-BE49-F238E27FC236}">
                <a16:creationId xmlns:a16="http://schemas.microsoft.com/office/drawing/2014/main" id="{F36324B4-4DCB-D82F-51F2-6138E16579F9}"/>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2" name="テキスト ボックス 31">
            <a:extLst>
              <a:ext uri="{FF2B5EF4-FFF2-40B4-BE49-F238E27FC236}">
                <a16:creationId xmlns:a16="http://schemas.microsoft.com/office/drawing/2014/main" id="{33237152-E798-4322-2AB1-5E305D41D100}"/>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8451A3DB-5F78-26D6-78B5-CE479F5584C3}"/>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34" name="テキスト ボックス 33">
            <a:extLst>
              <a:ext uri="{FF2B5EF4-FFF2-40B4-BE49-F238E27FC236}">
                <a16:creationId xmlns:a16="http://schemas.microsoft.com/office/drawing/2014/main" id="{B18E6906-8EEF-1873-6BD7-8C5705900CE9}"/>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5" name="テキスト ボックス 34">
            <a:extLst>
              <a:ext uri="{FF2B5EF4-FFF2-40B4-BE49-F238E27FC236}">
                <a16:creationId xmlns:a16="http://schemas.microsoft.com/office/drawing/2014/main" id="{AE129EBD-B8F5-8595-B20D-0A78A33D4CB4}"/>
              </a:ext>
            </a:extLst>
          </p:cNvPr>
          <p:cNvSpPr txBox="1"/>
          <p:nvPr/>
        </p:nvSpPr>
        <p:spPr>
          <a:xfrm>
            <a:off x="878376" y="1988770"/>
            <a:ext cx="2044823"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Safari </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36" name="テキスト ボックス 35">
            <a:extLst>
              <a:ext uri="{FF2B5EF4-FFF2-40B4-BE49-F238E27FC236}">
                <a16:creationId xmlns:a16="http://schemas.microsoft.com/office/drawing/2014/main" id="{45587020-9E66-95E4-FA86-30D737B50D2C}"/>
              </a:ext>
            </a:extLst>
          </p:cNvPr>
          <p:cNvSpPr txBox="1"/>
          <p:nvPr/>
        </p:nvSpPr>
        <p:spPr>
          <a:xfrm>
            <a:off x="3693943" y="1987450"/>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37" name="テキスト ボックス 36">
            <a:extLst>
              <a:ext uri="{FF2B5EF4-FFF2-40B4-BE49-F238E27FC236}">
                <a16:creationId xmlns:a16="http://schemas.microsoft.com/office/drawing/2014/main" id="{71FD1B48-F0D7-6FE9-D406-FF50A3163D32}"/>
              </a:ext>
            </a:extLst>
          </p:cNvPr>
          <p:cNvSpPr txBox="1"/>
          <p:nvPr/>
        </p:nvSpPr>
        <p:spPr>
          <a:xfrm>
            <a:off x="6469637" y="1972524"/>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grpSp>
        <p:nvGrpSpPr>
          <p:cNvPr id="38" name="図形グループ 108">
            <a:extLst>
              <a:ext uri="{FF2B5EF4-FFF2-40B4-BE49-F238E27FC236}">
                <a16:creationId xmlns:a16="http://schemas.microsoft.com/office/drawing/2014/main" id="{E2E48E80-E257-A375-B667-86276811B224}"/>
              </a:ext>
            </a:extLst>
          </p:cNvPr>
          <p:cNvGrpSpPr/>
          <p:nvPr/>
        </p:nvGrpSpPr>
        <p:grpSpPr>
          <a:xfrm>
            <a:off x="1233697" y="5525196"/>
            <a:ext cx="296587" cy="293005"/>
            <a:chOff x="2897417" y="3995693"/>
            <a:chExt cx="296587" cy="293005"/>
          </a:xfrm>
        </p:grpSpPr>
        <p:sp>
          <p:nvSpPr>
            <p:cNvPr id="39" name="円/楕円 114">
              <a:extLst>
                <a:ext uri="{FF2B5EF4-FFF2-40B4-BE49-F238E27FC236}">
                  <a16:creationId xmlns:a16="http://schemas.microsoft.com/office/drawing/2014/main" id="{515B1552-2BCE-E4B5-E4F6-11047CFFCA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C6E551C3-245E-E959-0B5C-DFAC1E79DE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93">
            <a:extLst>
              <a:ext uri="{FF2B5EF4-FFF2-40B4-BE49-F238E27FC236}">
                <a16:creationId xmlns:a16="http://schemas.microsoft.com/office/drawing/2014/main" id="{7CB543A3-DB6A-63C1-AF9F-F821B4569B74}"/>
              </a:ext>
            </a:extLst>
          </p:cNvPr>
          <p:cNvGrpSpPr/>
          <p:nvPr/>
        </p:nvGrpSpPr>
        <p:grpSpPr>
          <a:xfrm>
            <a:off x="3577929" y="5379395"/>
            <a:ext cx="296586" cy="293005"/>
            <a:chOff x="3546641" y="3995693"/>
            <a:chExt cx="296586" cy="293005"/>
          </a:xfrm>
        </p:grpSpPr>
        <p:sp>
          <p:nvSpPr>
            <p:cNvPr id="42" name="円/楕円 106">
              <a:extLst>
                <a:ext uri="{FF2B5EF4-FFF2-40B4-BE49-F238E27FC236}">
                  <a16:creationId xmlns:a16="http://schemas.microsoft.com/office/drawing/2014/main" id="{1822800A-CFF6-A2C8-DE6A-9F09DEFA420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107">
              <a:extLst>
                <a:ext uri="{FF2B5EF4-FFF2-40B4-BE49-F238E27FC236}">
                  <a16:creationId xmlns:a16="http://schemas.microsoft.com/office/drawing/2014/main" id="{C40575EB-9309-431C-7603-4B02213E90E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四角形: 角を丸くする 43">
            <a:extLst>
              <a:ext uri="{FF2B5EF4-FFF2-40B4-BE49-F238E27FC236}">
                <a16:creationId xmlns:a16="http://schemas.microsoft.com/office/drawing/2014/main" id="{09A9EBF4-05FC-9872-481C-130B86B495B2}"/>
              </a:ext>
            </a:extLst>
          </p:cNvPr>
          <p:cNvSpPr/>
          <p:nvPr/>
        </p:nvSpPr>
        <p:spPr>
          <a:xfrm>
            <a:off x="6550314" y="4631983"/>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矢印: 右 44">
            <a:extLst>
              <a:ext uri="{FF2B5EF4-FFF2-40B4-BE49-F238E27FC236}">
                <a16:creationId xmlns:a16="http://schemas.microsoft.com/office/drawing/2014/main" id="{9AFF5C31-D8DB-1CFF-CF1B-EACE7C0968B6}"/>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6" name="図 45">
            <a:extLst>
              <a:ext uri="{FF2B5EF4-FFF2-40B4-BE49-F238E27FC236}">
                <a16:creationId xmlns:a16="http://schemas.microsoft.com/office/drawing/2014/main" id="{0B90EECA-E636-1DCA-A985-C9EB7E2AFC53}"/>
              </a:ext>
            </a:extLst>
          </p:cNvPr>
          <p:cNvPicPr>
            <a:picLocks noChangeAspect="1"/>
          </p:cNvPicPr>
          <p:nvPr/>
        </p:nvPicPr>
        <p:blipFill>
          <a:blip r:embed="rId6"/>
          <a:stretch>
            <a:fillRect/>
          </a:stretch>
        </p:blipFill>
        <p:spPr>
          <a:xfrm>
            <a:off x="1911664" y="2018175"/>
            <a:ext cx="314369" cy="295316"/>
          </a:xfrm>
          <a:prstGeom prst="rect">
            <a:avLst/>
          </a:prstGeom>
        </p:spPr>
      </p:pic>
      <p:grpSp>
        <p:nvGrpSpPr>
          <p:cNvPr id="47" name="図形グループ 69">
            <a:extLst>
              <a:ext uri="{FF2B5EF4-FFF2-40B4-BE49-F238E27FC236}">
                <a16:creationId xmlns:a16="http://schemas.microsoft.com/office/drawing/2014/main" id="{C1B0E439-7F97-0BD9-C5F1-DCBD20F0E10A}"/>
              </a:ext>
            </a:extLst>
          </p:cNvPr>
          <p:cNvGrpSpPr/>
          <p:nvPr/>
        </p:nvGrpSpPr>
        <p:grpSpPr>
          <a:xfrm>
            <a:off x="6378206" y="4383348"/>
            <a:ext cx="296586" cy="293005"/>
            <a:chOff x="4232441" y="3995693"/>
            <a:chExt cx="296586" cy="293005"/>
          </a:xfrm>
        </p:grpSpPr>
        <p:sp>
          <p:nvSpPr>
            <p:cNvPr id="48" name="円/楕円 70">
              <a:extLst>
                <a:ext uri="{FF2B5EF4-FFF2-40B4-BE49-F238E27FC236}">
                  <a16:creationId xmlns:a16="http://schemas.microsoft.com/office/drawing/2014/main" id="{3A043E73-A471-F5DD-3044-D25B410D64D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71">
              <a:extLst>
                <a:ext uri="{FF2B5EF4-FFF2-40B4-BE49-F238E27FC236}">
                  <a16:creationId xmlns:a16="http://schemas.microsoft.com/office/drawing/2014/main" id="{BCBED209-05B5-15AD-90E0-D3D9C9A7274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420365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スクリーンショットの画面&#10;&#10;自動的に生成された説明">
            <a:extLst>
              <a:ext uri="{FF2B5EF4-FFF2-40B4-BE49-F238E27FC236}">
                <a16:creationId xmlns:a16="http://schemas.microsoft.com/office/drawing/2014/main" id="{E44C24E4-157C-0E70-1D80-385AF70376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777" y="2612940"/>
            <a:ext cx="1641382" cy="3552364"/>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E9D0F6B-3905-492D-BFA0-503C683B86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41384" y="2613559"/>
            <a:ext cx="1641382" cy="3552364"/>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7701269-6443-DFF0-C3B1-9ACCAECF5B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211" y="2621673"/>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5" name="テキスト ボックス 4">
            <a:extLst>
              <a:ext uri="{FF2B5EF4-FFF2-40B4-BE49-F238E27FC236}">
                <a16:creationId xmlns:a16="http://schemas.microsoft.com/office/drawing/2014/main" id="{A387D161-037A-4090-7D40-7F745040EFC8}"/>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2A0EBDD0-4C0C-2DA4-5931-95C7AD0F38DA}"/>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88FE33C2-91D2-B1A7-2621-F011F77D22C0}"/>
              </a:ext>
            </a:extLst>
          </p:cNvPr>
          <p:cNvSpPr/>
          <p:nvPr/>
        </p:nvSpPr>
        <p:spPr>
          <a:xfrm>
            <a:off x="2269788"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E8189583-6144-451B-3A4A-670191298014}"/>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テキスト ボックス 8">
            <a:extLst>
              <a:ext uri="{FF2B5EF4-FFF2-40B4-BE49-F238E27FC236}">
                <a16:creationId xmlns:a16="http://schemas.microsoft.com/office/drawing/2014/main" id="{8CDDD604-0EE6-31C7-8E56-3BC4449E2E43}"/>
              </a:ext>
            </a:extLst>
          </p:cNvPr>
          <p:cNvSpPr txBox="1"/>
          <p:nvPr/>
        </p:nvSpPr>
        <p:spPr>
          <a:xfrm>
            <a:off x="878377" y="1988770"/>
            <a:ext cx="2253464"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開く」を押す</a:t>
            </a:r>
            <a:endParaRPr lang="en-US" altLang="ja-JP" sz="1500" b="1" dirty="0">
              <a:latin typeface="メイリオ"/>
              <a:ea typeface="メイリオ"/>
            </a:endParaRPr>
          </a:p>
        </p:txBody>
      </p:sp>
      <p:sp>
        <p:nvSpPr>
          <p:cNvPr id="10" name="テキスト ボックス 9">
            <a:extLst>
              <a:ext uri="{FF2B5EF4-FFF2-40B4-BE49-F238E27FC236}">
                <a16:creationId xmlns:a16="http://schemas.microsoft.com/office/drawing/2014/main" id="{3E6E12F5-3D27-2D91-53FF-3B632B89BED5}"/>
              </a:ext>
            </a:extLst>
          </p:cNvPr>
          <p:cNvSpPr txBox="1"/>
          <p:nvPr/>
        </p:nvSpPr>
        <p:spPr>
          <a:xfrm>
            <a:off x="3612340" y="1987450"/>
            <a:ext cx="2543835"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3" name="矢印: 右 12">
            <a:extLst>
              <a:ext uri="{FF2B5EF4-FFF2-40B4-BE49-F238E27FC236}">
                <a16:creationId xmlns:a16="http://schemas.microsoft.com/office/drawing/2014/main" id="{D359A907-3500-FBC3-2E16-071AAF7FAC4C}"/>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4" name="四角形: 角を丸くする 13">
            <a:extLst>
              <a:ext uri="{FF2B5EF4-FFF2-40B4-BE49-F238E27FC236}">
                <a16:creationId xmlns:a16="http://schemas.microsoft.com/office/drawing/2014/main" id="{208BD6D3-5632-9A6F-0F83-0EC7C1AD84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フリーフォーム 92">
            <a:extLst>
              <a:ext uri="{FF2B5EF4-FFF2-40B4-BE49-F238E27FC236}">
                <a16:creationId xmlns:a16="http://schemas.microsoft.com/office/drawing/2014/main" id="{65FF8EF0-620A-0FB3-D967-68F7ED42DCE1}"/>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83">
            <a:extLst>
              <a:ext uri="{FF2B5EF4-FFF2-40B4-BE49-F238E27FC236}">
                <a16:creationId xmlns:a16="http://schemas.microsoft.com/office/drawing/2014/main" id="{6746A11D-F095-8C4B-223F-79A216E9D962}"/>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字幕 14">
            <a:extLst>
              <a:ext uri="{FF2B5EF4-FFF2-40B4-BE49-F238E27FC236}">
                <a16:creationId xmlns:a16="http://schemas.microsoft.com/office/drawing/2014/main" id="{F1BF6943-BDAD-DAE2-FABD-61578B58EF51}"/>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en-US" altLang="ja-JP" dirty="0">
                <a:latin typeface="Meiryo"/>
                <a:ea typeface="Meiryo"/>
              </a:rPr>
              <a:t>iPhone</a:t>
            </a:r>
            <a:r>
              <a:rPr lang="ja-JP" altLang="en-US" dirty="0" err="1">
                <a:latin typeface="Meiryo"/>
                <a:ea typeface="Meiryo"/>
              </a:rPr>
              <a:t>でねんきん</a:t>
            </a:r>
            <a:r>
              <a:rPr lang="ja-JP" altLang="en-US" dirty="0">
                <a:latin typeface="Meiryo"/>
                <a:ea typeface="Meiryo"/>
              </a:rPr>
              <a:t>ネットを検索しましょう</a:t>
            </a:r>
          </a:p>
        </p:txBody>
      </p:sp>
      <p:grpSp>
        <p:nvGrpSpPr>
          <p:cNvPr id="18" name="図形グループ 20">
            <a:extLst>
              <a:ext uri="{FF2B5EF4-FFF2-40B4-BE49-F238E27FC236}">
                <a16:creationId xmlns:a16="http://schemas.microsoft.com/office/drawing/2014/main" id="{AE350434-F286-2047-B0EC-55FFB8A68752}"/>
              </a:ext>
            </a:extLst>
          </p:cNvPr>
          <p:cNvGrpSpPr/>
          <p:nvPr/>
        </p:nvGrpSpPr>
        <p:grpSpPr>
          <a:xfrm>
            <a:off x="6280764" y="2593879"/>
            <a:ext cx="296586" cy="293005"/>
            <a:chOff x="6801905" y="3995693"/>
            <a:chExt cx="296586" cy="293005"/>
          </a:xfrm>
        </p:grpSpPr>
        <p:sp>
          <p:nvSpPr>
            <p:cNvPr id="19" name="円/楕円 21">
              <a:extLst>
                <a:ext uri="{FF2B5EF4-FFF2-40B4-BE49-F238E27FC236}">
                  <a16:creationId xmlns:a16="http://schemas.microsoft.com/office/drawing/2014/main" id="{FCBD1EC1-9C7B-79D5-08B0-C4EAF95F316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112F093C-F7A8-49C9-8FCA-2EB604136A6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テキスト ボックス 27">
            <a:extLst>
              <a:ext uri="{FF2B5EF4-FFF2-40B4-BE49-F238E27FC236}">
                <a16:creationId xmlns:a16="http://schemas.microsoft.com/office/drawing/2014/main" id="{B87E531F-E53D-F358-B502-92A300E12362}"/>
              </a:ext>
            </a:extLst>
          </p:cNvPr>
          <p:cNvSpPr txBox="1"/>
          <p:nvPr/>
        </p:nvSpPr>
        <p:spPr>
          <a:xfrm>
            <a:off x="6156176" y="1772816"/>
            <a:ext cx="2584587"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a:t>
            </a:r>
            <a:endParaRPr lang="en-US" altLang="ja-JP" sz="1500" b="1" dirty="0">
              <a:latin typeface="メイリオ"/>
              <a:ea typeface="メイリオ"/>
            </a:endParaRPr>
          </a:p>
          <a:p>
            <a:r>
              <a:rPr lang="ja-JP" altLang="en-US" sz="1500" b="1" dirty="0">
                <a:latin typeface="メイリオ"/>
                <a:ea typeface="メイリオ"/>
              </a:rPr>
              <a:t>　　 を表示</a:t>
            </a:r>
          </a:p>
        </p:txBody>
      </p:sp>
    </p:spTree>
    <p:extLst>
      <p:ext uri="{BB962C8B-B14F-4D97-AF65-F5344CB8AC3E}">
        <p14:creationId xmlns:p14="http://schemas.microsoft.com/office/powerpoint/2010/main" val="3505462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CB64161D-869E-06C9-491D-10752B398B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5" y="2870165"/>
            <a:ext cx="1637053" cy="3401431"/>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01602"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70164"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テキスト ボックス 18">
            <a:extLst>
              <a:ext uri="{FF2B5EF4-FFF2-40B4-BE49-F238E27FC236}">
                <a16:creationId xmlns:a16="http://schemas.microsoft.com/office/drawing/2014/main" id="{696D1B4B-1BFC-832B-8E2F-DB1B6A3B7221}"/>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507955" y="207208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47251" y="204022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84024" y="205195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が表示さ</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れ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743950" y="1956048"/>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ンバー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カードあり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51090"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93709"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07955" y="290463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938757" y="4430527"/>
            <a:ext cx="1616297" cy="8952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4499992" y="2703947"/>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1" name="フリーフォーム 92">
            <a:extLst>
              <a:ext uri="{FF2B5EF4-FFF2-40B4-BE49-F238E27FC236}">
                <a16:creationId xmlns:a16="http://schemas.microsoft.com/office/drawing/2014/main" id="{17DBAC32-BBAF-9F4D-5169-250695D526DC}"/>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43131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5CCA748-147E-D507-5C7B-0214856CC3D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57005" y="2880989"/>
            <a:ext cx="1638000" cy="3403399"/>
          </a:xfrm>
          <a:prstGeom prst="rect">
            <a:avLst/>
          </a:prstGeom>
          <a:ln>
            <a:solidFill>
              <a:schemeClr val="tx1"/>
            </a:solidFill>
          </a:ln>
        </p:spPr>
      </p:pic>
      <p:pic>
        <p:nvPicPr>
          <p:cNvPr id="9" name="図 8">
            <a:extLst>
              <a:ext uri="{FF2B5EF4-FFF2-40B4-BE49-F238E27FC236}">
                <a16:creationId xmlns:a16="http://schemas.microsoft.com/office/drawing/2014/main" id="{28BEDB2C-B1C9-1645-91D9-7333C07B71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21001" y="2880990"/>
            <a:ext cx="1638000" cy="3403399"/>
          </a:xfrm>
          <a:prstGeom prst="rect">
            <a:avLst/>
          </a:prstGeom>
          <a:ln>
            <a:solidFill>
              <a:schemeClr val="tx1"/>
            </a:solidFill>
          </a:ln>
        </p:spPr>
      </p:pic>
      <p:pic>
        <p:nvPicPr>
          <p:cNvPr id="7" name="図 6">
            <a:extLst>
              <a:ext uri="{FF2B5EF4-FFF2-40B4-BE49-F238E27FC236}">
                <a16:creationId xmlns:a16="http://schemas.microsoft.com/office/drawing/2014/main" id="{6CECC458-5F1A-4907-8953-391D30A0E87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4998" y="2880991"/>
            <a:ext cx="1638000" cy="3403399"/>
          </a:xfrm>
          <a:prstGeom prst="rect">
            <a:avLst/>
          </a:prstGeom>
          <a:ln>
            <a:solidFill>
              <a:schemeClr val="tx1"/>
            </a:solidFill>
          </a:ln>
        </p:spPr>
      </p:pic>
      <p:pic>
        <p:nvPicPr>
          <p:cNvPr id="5" name="図 4">
            <a:extLst>
              <a:ext uri="{FF2B5EF4-FFF2-40B4-BE49-F238E27FC236}">
                <a16:creationId xmlns:a16="http://schemas.microsoft.com/office/drawing/2014/main" id="{D56ADEC0-1024-64AC-10E8-B57DAE24365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995" y="2880992"/>
            <a:ext cx="1638000" cy="340339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63343" y="1934543"/>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❺</a:t>
            </a:r>
            <a:r>
              <a:rPr lang="ja-JP" altLang="en-US" sz="1600" b="1" dirty="0">
                <a:latin typeface="メイリオ"/>
                <a:ea typeface="メイリオ"/>
              </a:rPr>
              <a:t>マイナポータル　</a:t>
            </a:r>
            <a:endParaRPr lang="en-US" altLang="ja-JP" dirty="0"/>
          </a:p>
          <a:p>
            <a:r>
              <a:rPr lang="ja-JP" altLang="en-US" sz="1600" b="1" dirty="0">
                <a:latin typeface="メイリオ"/>
                <a:ea typeface="メイリオ"/>
              </a:rPr>
              <a:t>　の画面で「ログイ</a:t>
            </a:r>
            <a:endParaRPr lang="ja-JP" dirty="0">
              <a:latin typeface="Calibri" panose="020F0502020204030204"/>
              <a:ea typeface="游ゴシック" panose="020B0400000000000000" pitchFamily="34" charset="-128"/>
              <a:cs typeface="Calibri" panose="020F0502020204030204"/>
            </a:endParaRPr>
          </a:p>
          <a:p>
            <a:r>
              <a:rPr lang="ja-JP" altLang="en-US" sz="1600" b="1" dirty="0">
                <a:latin typeface="メイリオ"/>
                <a:ea typeface="メイリオ"/>
              </a:rPr>
              <a:t>　ン」を押す</a:t>
            </a:r>
            <a:endParaRPr lang="ja-JP" dirty="0">
              <a:ea typeface="游ゴシック"/>
              <a:cs typeface="Calibri"/>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613395" y="1982544"/>
            <a:ext cx="20532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➐</a:t>
            </a:r>
            <a:r>
              <a:rPr lang="ja-JP" altLang="en-US" sz="1600" b="1" dirty="0">
                <a:latin typeface="メイリオ"/>
                <a:ea typeface="メイリオ"/>
              </a:rPr>
              <a:t>「次へ」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639487" y="1994586"/>
            <a:ext cx="2127725"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➑</a:t>
            </a:r>
            <a:r>
              <a:rPr lang="ja-JP" altLang="en-US" sz="1600" b="1" dirty="0">
                <a:latin typeface="メイリオ"/>
                <a:ea typeface="メイリオ"/>
              </a:rPr>
              <a:t>マイナンバーカードを後ろにかざす</a:t>
            </a:r>
            <a:endParaRPr lang="ja-JP" dirty="0">
              <a:latin typeface="メイリオ"/>
              <a:ea typeface="メイリオ"/>
            </a:endParaRPr>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80176" y="1973186"/>
            <a:ext cx="240924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❻</a:t>
            </a:r>
            <a:r>
              <a:rPr lang="ja-JP" altLang="en-US" sz="1600" b="1" dirty="0">
                <a:latin typeface="メイリオ"/>
                <a:ea typeface="メイリオ"/>
              </a:rPr>
              <a:t>マイナポータルの</a:t>
            </a:r>
            <a:endParaRPr lang="en-US" altLang="ja-JP" sz="1600" b="1" dirty="0">
              <a:latin typeface="メイリオ"/>
              <a:ea typeface="メイリオ"/>
            </a:endParaRPr>
          </a:p>
          <a:p>
            <a:r>
              <a:rPr lang="ja-JP" altLang="en-US" sz="1600" b="1" dirty="0">
                <a:latin typeface="メイリオ"/>
                <a:ea typeface="メイリオ"/>
              </a:rPr>
              <a:t>　数字</a:t>
            </a:r>
            <a:r>
              <a:rPr lang="en-US" altLang="ja-JP" sz="1600" b="1" dirty="0">
                <a:latin typeface="メイリオ"/>
                <a:ea typeface="メイリオ"/>
              </a:rPr>
              <a:t>4</a:t>
            </a:r>
            <a:r>
              <a:rPr lang="ja-JP" altLang="en-US" sz="1600" b="1" dirty="0">
                <a:latin typeface="メイリオ"/>
                <a:ea typeface="メイリオ"/>
              </a:rPr>
              <a:t>桁のパスワード</a:t>
            </a:r>
            <a:endParaRPr lang="en-US" altLang="ja-JP" sz="1600" b="1" dirty="0">
              <a:latin typeface="メイリオ"/>
              <a:ea typeface="メイリオ"/>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3" name="四角形: 角を丸くする 2">
            <a:extLst>
              <a:ext uri="{FF2B5EF4-FFF2-40B4-BE49-F238E27FC236}">
                <a16:creationId xmlns:a16="http://schemas.microsoft.com/office/drawing/2014/main" id="{1759981D-1192-569E-FCAE-030A6E25E6B4}"/>
              </a:ext>
            </a:extLst>
          </p:cNvPr>
          <p:cNvSpPr/>
          <p:nvPr/>
        </p:nvSpPr>
        <p:spPr>
          <a:xfrm>
            <a:off x="593628" y="5560774"/>
            <a:ext cx="131407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194A49F-95B9-A01E-C544-07F526BFD195}"/>
              </a:ext>
            </a:extLst>
          </p:cNvPr>
          <p:cNvSpPr/>
          <p:nvPr/>
        </p:nvSpPr>
        <p:spPr>
          <a:xfrm>
            <a:off x="2714397" y="4849336"/>
            <a:ext cx="1462769" cy="5148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2F128113-F906-1061-147C-B84D4A0CDD68}"/>
              </a:ext>
            </a:extLst>
          </p:cNvPr>
          <p:cNvSpPr/>
          <p:nvPr/>
        </p:nvSpPr>
        <p:spPr>
          <a:xfrm>
            <a:off x="4875724" y="5648658"/>
            <a:ext cx="1515191" cy="2721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83">
            <a:extLst>
              <a:ext uri="{FF2B5EF4-FFF2-40B4-BE49-F238E27FC236}">
                <a16:creationId xmlns:a16="http://schemas.microsoft.com/office/drawing/2014/main" id="{4CBFC50B-D50D-8E84-FFE1-D6B25C647A37}"/>
              </a:ext>
            </a:extLst>
          </p:cNvPr>
          <p:cNvSpPr/>
          <p:nvPr/>
        </p:nvSpPr>
        <p:spPr>
          <a:xfrm>
            <a:off x="1611118" y="522422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20">
            <a:extLst>
              <a:ext uri="{FF2B5EF4-FFF2-40B4-BE49-F238E27FC236}">
                <a16:creationId xmlns:a16="http://schemas.microsoft.com/office/drawing/2014/main" id="{660C550C-3AC9-0C5A-29B3-0C2B0959B927}"/>
              </a:ext>
            </a:extLst>
          </p:cNvPr>
          <p:cNvGrpSpPr/>
          <p:nvPr/>
        </p:nvGrpSpPr>
        <p:grpSpPr>
          <a:xfrm>
            <a:off x="2644325" y="4556331"/>
            <a:ext cx="296586" cy="293005"/>
            <a:chOff x="6801905" y="3995693"/>
            <a:chExt cx="296586" cy="293005"/>
          </a:xfrm>
        </p:grpSpPr>
        <p:sp>
          <p:nvSpPr>
            <p:cNvPr id="13" name="円/楕円 21">
              <a:extLst>
                <a:ext uri="{FF2B5EF4-FFF2-40B4-BE49-F238E27FC236}">
                  <a16:creationId xmlns:a16="http://schemas.microsoft.com/office/drawing/2014/main" id="{E8DFA477-E3FC-AC6E-4B09-302C80DA75E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22">
              <a:extLst>
                <a:ext uri="{FF2B5EF4-FFF2-40B4-BE49-F238E27FC236}">
                  <a16:creationId xmlns:a16="http://schemas.microsoft.com/office/drawing/2014/main" id="{A42B46EA-FA97-FB94-5616-90536527834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405C1B9D-CC44-EF33-7088-3258FA469557}"/>
              </a:ext>
            </a:extLst>
          </p:cNvPr>
          <p:cNvSpPr txBox="1"/>
          <p:nvPr/>
        </p:nvSpPr>
        <p:spPr>
          <a:xfrm>
            <a:off x="4442447" y="5370729"/>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26" name="テキスト ボックス 25">
            <a:extLst>
              <a:ext uri="{FF2B5EF4-FFF2-40B4-BE49-F238E27FC236}">
                <a16:creationId xmlns:a16="http://schemas.microsoft.com/office/drawing/2014/main" id="{FE9E97B8-E10F-0A0B-93D4-84E79A578D95}"/>
              </a:ext>
            </a:extLst>
          </p:cNvPr>
          <p:cNvSpPr txBox="1"/>
          <p:nvPr/>
        </p:nvSpPr>
        <p:spPr>
          <a:xfrm>
            <a:off x="6590050" y="2704530"/>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2" name="テキスト ボックス 21">
            <a:extLst>
              <a:ext uri="{FF2B5EF4-FFF2-40B4-BE49-F238E27FC236}">
                <a16:creationId xmlns:a16="http://schemas.microsoft.com/office/drawing/2014/main" id="{9E695591-F405-4EBC-ACB5-B85CFFA8E842}"/>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259013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自動的に生成された説明">
            <a:extLst>
              <a:ext uri="{FF2B5EF4-FFF2-40B4-BE49-F238E27FC236}">
                <a16:creationId xmlns:a16="http://schemas.microsoft.com/office/drawing/2014/main" id="{5B628B3E-9AE2-FA90-4959-91631CDE64A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7332" y="2852936"/>
            <a:ext cx="1637729" cy="3402837"/>
          </a:xfrm>
          <a:prstGeom prst="rect">
            <a:avLst/>
          </a:prstGeom>
          <a:ln>
            <a:solidFill>
              <a:schemeClr val="tx1"/>
            </a:solidFill>
          </a:ln>
        </p:spPr>
      </p:pic>
      <p:pic>
        <p:nvPicPr>
          <p:cNvPr id="3" name="図 2" descr="グラフィカル ユーザー インターフェイス, アプリケーション&#10;&#10;自動的に生成された説明">
            <a:extLst>
              <a:ext uri="{FF2B5EF4-FFF2-40B4-BE49-F238E27FC236}">
                <a16:creationId xmlns:a16="http://schemas.microsoft.com/office/drawing/2014/main" id="{19BB75F3-65DD-DF32-AB06-AF2EB1A5C42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37876"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2168377"/>
            <a:ext cx="2291676"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❾</a:t>
            </a:r>
            <a:r>
              <a:rPr lang="ja-JP" altLang="en-US" sz="1600" b="1" dirty="0">
                <a:latin typeface="メイリオ"/>
                <a:ea typeface="メイリオ"/>
              </a:rPr>
              <a:t>読み取りが完了したら、カードを外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58170" y="21950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⓫</a:t>
            </a:r>
            <a:r>
              <a:rPr lang="ja-JP" altLang="en-US" sz="1600" b="1" dirty="0">
                <a:latin typeface="メイリオ"/>
                <a:ea typeface="メイリオ"/>
              </a:rPr>
              <a:t>外部サイトと</a:t>
            </a:r>
            <a:endParaRPr lang="en-US" altLang="ja-JP" sz="1600" b="1" dirty="0">
              <a:latin typeface="メイリオ"/>
              <a:ea typeface="メイリオ"/>
            </a:endParaRPr>
          </a:p>
          <a:p>
            <a:r>
              <a:rPr lang="ja-JP" altLang="en-US" sz="1600" b="1" dirty="0">
                <a:latin typeface="メイリオ"/>
                <a:ea typeface="メイリオ"/>
              </a:rPr>
              <a:t>　の連携を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217709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⓬</a:t>
            </a:r>
            <a:r>
              <a:rPr lang="ja-JP" altLang="en-US" sz="1600" b="1" dirty="0">
                <a:latin typeface="メイリオ"/>
                <a:ea typeface="メイリオ"/>
              </a:rPr>
              <a:t>上にスクロー</a:t>
            </a:r>
            <a:endParaRPr lang="en-US" altLang="ja-JP" sz="1600" b="1" dirty="0">
              <a:latin typeface="メイリオ"/>
              <a:ea typeface="メイリオ"/>
            </a:endParaRPr>
          </a:p>
          <a:p>
            <a:r>
              <a:rPr lang="ja-JP" altLang="en-US" sz="1600" b="1" dirty="0">
                <a:latin typeface="メイリオ"/>
                <a:ea typeface="メイリオ"/>
              </a:rPr>
              <a:t>　ルをする</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62229" y="2177096"/>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❿</a:t>
            </a:r>
            <a:r>
              <a:rPr lang="ja-JP" altLang="en-US" sz="1600" b="1" dirty="0">
                <a:latin typeface="メイリオ"/>
                <a:ea typeface="メイリオ"/>
              </a:rPr>
              <a:t>左上の「　」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D115C4-6494-1C03-726D-32D106809E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8939" y="2876263"/>
            <a:ext cx="1637326" cy="3402000"/>
          </a:xfrm>
          <a:prstGeom prst="rect">
            <a:avLst/>
          </a:prstGeom>
          <a:ln>
            <a:solidFill>
              <a:schemeClr val="tx1"/>
            </a:solidFill>
          </a:ln>
        </p:spPr>
      </p:pic>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EBFF2EFE-A9A7-D7D9-93B4-38703C5C534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75204" y="2876263"/>
            <a:ext cx="1637326" cy="34020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7E4493F5-9595-388D-98B4-3EF91E710FF4}"/>
              </a:ext>
            </a:extLst>
          </p:cNvPr>
          <p:cNvSpPr/>
          <p:nvPr/>
        </p:nvSpPr>
        <p:spPr>
          <a:xfrm>
            <a:off x="2683134" y="3187876"/>
            <a:ext cx="194015" cy="1916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1A9A6C40-9A8E-21CD-4679-B24ED53751FB}"/>
              </a:ext>
            </a:extLst>
          </p:cNvPr>
          <p:cNvSpPr/>
          <p:nvPr/>
        </p:nvSpPr>
        <p:spPr>
          <a:xfrm>
            <a:off x="4879282" y="4413635"/>
            <a:ext cx="1555754"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矢印: 下 18">
            <a:extLst>
              <a:ext uri="{FF2B5EF4-FFF2-40B4-BE49-F238E27FC236}">
                <a16:creationId xmlns:a16="http://schemas.microsoft.com/office/drawing/2014/main" id="{2B2B3260-CB16-3DD8-7466-B9825781BA35}"/>
              </a:ext>
            </a:extLst>
          </p:cNvPr>
          <p:cNvSpPr/>
          <p:nvPr/>
        </p:nvSpPr>
        <p:spPr>
          <a:xfrm flipV="1">
            <a:off x="7564081" y="404721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1" name="図 20">
            <a:extLst>
              <a:ext uri="{FF2B5EF4-FFF2-40B4-BE49-F238E27FC236}">
                <a16:creationId xmlns:a16="http://schemas.microsoft.com/office/drawing/2014/main" id="{3D8E4240-EBFC-4832-E6B4-6C8CB23BE80F}"/>
              </a:ext>
            </a:extLst>
          </p:cNvPr>
          <p:cNvPicPr>
            <a:picLocks noChangeAspect="1"/>
          </p:cNvPicPr>
          <p:nvPr/>
        </p:nvPicPr>
        <p:blipFill>
          <a:blip r:embed="rId7"/>
          <a:stretch>
            <a:fillRect/>
          </a:stretch>
        </p:blipFill>
        <p:spPr>
          <a:xfrm>
            <a:off x="3686997" y="2313991"/>
            <a:ext cx="247685" cy="166711"/>
          </a:xfrm>
          <a:prstGeom prst="rect">
            <a:avLst/>
          </a:prstGeom>
        </p:spPr>
      </p:pic>
      <p:sp>
        <p:nvSpPr>
          <p:cNvPr id="15" name="テキスト ボックス 14">
            <a:extLst>
              <a:ext uri="{FF2B5EF4-FFF2-40B4-BE49-F238E27FC236}">
                <a16:creationId xmlns:a16="http://schemas.microsoft.com/office/drawing/2014/main" id="{11581658-4503-63F3-CC68-31B6703864EB}"/>
              </a:ext>
            </a:extLst>
          </p:cNvPr>
          <p:cNvSpPr txBox="1"/>
          <p:nvPr/>
        </p:nvSpPr>
        <p:spPr>
          <a:xfrm>
            <a:off x="2271261" y="2932129"/>
            <a:ext cx="39713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❿</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2C6D99E-F3CC-5112-DB1B-0443DD9607AE}"/>
              </a:ext>
            </a:extLst>
          </p:cNvPr>
          <p:cNvSpPr txBox="1"/>
          <p:nvPr/>
        </p:nvSpPr>
        <p:spPr>
          <a:xfrm>
            <a:off x="4442447" y="4152025"/>
            <a:ext cx="497391"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sz="20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3FC20974-C8E1-12E1-690B-56238DEF292C}"/>
              </a:ext>
            </a:extLst>
          </p:cNvPr>
          <p:cNvSpPr txBox="1"/>
          <p:nvPr/>
        </p:nvSpPr>
        <p:spPr>
          <a:xfrm>
            <a:off x="6598420" y="4249946"/>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⓬</a:t>
            </a:r>
            <a:endParaRPr lang="ja-JP" altLang="en-US" sz="2800"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6E4A4C77-9EF4-4C70-B524-B125CCB7460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533277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5657CE8-C6C9-1516-0A22-982512FAC6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8940"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1988792"/>
            <a:ext cx="2324241"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a:ea typeface="メイリオ"/>
              </a:rPr>
              <a:t>⓭</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の項目から「つなぐ」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9938" y="1988792"/>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⓯</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658732" y="1980614"/>
            <a:ext cx="2105151" cy="892552"/>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⓰</a:t>
            </a:r>
            <a:r>
              <a:rPr lang="ja-JP" altLang="en-US" sz="1400" b="1" dirty="0">
                <a:latin typeface="メイリオ"/>
                <a:ea typeface="メイリオ"/>
              </a:rPr>
              <a:t>つながっているウェ</a:t>
            </a:r>
            <a:endParaRPr lang="en-US" altLang="ja-JP" sz="1600" b="1" dirty="0">
              <a:latin typeface="メイリオ"/>
              <a:ea typeface="メイリオ"/>
            </a:endParaRPr>
          </a:p>
          <a:p>
            <a:r>
              <a:rPr lang="ja-JP" altLang="en-US" sz="1400" b="1" dirty="0">
                <a:latin typeface="メイリオ"/>
                <a:ea typeface="メイリオ"/>
              </a:rPr>
              <a:t>　ブサイトから「</a:t>
            </a:r>
            <a:r>
              <a:rPr lang="ja-JP" altLang="en-US" sz="1400" b="1" dirty="0" err="1">
                <a:latin typeface="メイリオ"/>
                <a:ea typeface="メイリオ"/>
              </a:rPr>
              <a:t>ねん</a:t>
            </a:r>
            <a:endParaRPr lang="en-US" altLang="ja-JP" sz="1600" b="1" dirty="0">
              <a:latin typeface="メイリオ"/>
              <a:ea typeface="メイリオ"/>
            </a:endParaRPr>
          </a:p>
          <a:p>
            <a:r>
              <a:rPr lang="ja-JP" altLang="en-US" sz="1400" b="1" dirty="0">
                <a:latin typeface="メイリオ"/>
                <a:ea typeface="メイリオ"/>
              </a:rPr>
              <a:t>　</a:t>
            </a:r>
            <a:r>
              <a:rPr lang="ja-JP" altLang="en-US" sz="1400" b="1" dirty="0" err="1">
                <a:latin typeface="メイリオ"/>
                <a:ea typeface="メイリオ"/>
              </a:rPr>
              <a:t>きん</a:t>
            </a:r>
            <a:r>
              <a:rPr lang="ja-JP" altLang="en-US" sz="1400" b="1" dirty="0">
                <a:latin typeface="メイリオ"/>
                <a:ea typeface="メイリオ"/>
              </a:rPr>
              <a:t>ネット」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86801" y="1946114"/>
            <a:ext cx="2321204" cy="954107"/>
          </a:xfrm>
          <a:prstGeom prst="rect">
            <a:avLst/>
          </a:prstGeom>
          <a:noFill/>
        </p:spPr>
        <p:txBody>
          <a:bodyPr wrap="square" lIns="91440" tIns="45720" rIns="91440" bIns="45720" anchor="t">
            <a:spAutoFit/>
          </a:bodyPr>
          <a:lstStyle/>
          <a:p>
            <a:pPr marL="265113" indent="-265113"/>
            <a:r>
              <a:rPr lang="ja-JP" altLang="en-US" sz="2400" b="1" dirty="0">
                <a:solidFill>
                  <a:srgbClr val="009650"/>
                </a:solidFill>
                <a:latin typeface="メイリオ"/>
                <a:ea typeface="メイリオ"/>
              </a:rPr>
              <a:t>⓮</a:t>
            </a:r>
            <a:r>
              <a:rPr lang="ja-JP" altLang="en-US" sz="1600" b="1" dirty="0">
                <a:latin typeface="メイリオ"/>
                <a:ea typeface="メイリオ"/>
              </a:rPr>
              <a:t>利用規約を確認して同意するに「✓」を入れ「次へ」を押す</a:t>
            </a:r>
            <a:endParaRPr lang="en-US" altLang="ja-JP" sz="1600" b="1" dirty="0">
              <a:latin typeface="メイリオ"/>
              <a:ea typeface="メイリオ"/>
            </a:endParaRPr>
          </a:p>
        </p:txBody>
      </p:sp>
      <p:sp>
        <p:nvSpPr>
          <p:cNvPr id="27" name="四角形: 角を丸くする 26">
            <a:extLst>
              <a:ext uri="{FF2B5EF4-FFF2-40B4-BE49-F238E27FC236}">
                <a16:creationId xmlns:a16="http://schemas.microsoft.com/office/drawing/2014/main" id="{87F89B16-9561-1577-5771-35C49BC6A23E}"/>
              </a:ext>
            </a:extLst>
          </p:cNvPr>
          <p:cNvSpPr/>
          <p:nvPr/>
        </p:nvSpPr>
        <p:spPr>
          <a:xfrm>
            <a:off x="547210" y="5824721"/>
            <a:ext cx="1563535" cy="1943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8138C728-DAC6-DB54-A9BC-D51E5B3E02FE}"/>
              </a:ext>
            </a:extLst>
          </p:cNvPr>
          <p:cNvSpPr txBox="1"/>
          <p:nvPr/>
        </p:nvSpPr>
        <p:spPr>
          <a:xfrm>
            <a:off x="2006587" y="5495885"/>
            <a:ext cx="437344"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⓭</a:t>
            </a:r>
            <a:endParaRPr lang="ja-JP" altLang="en-US" sz="2000" dirty="0">
              <a:latin typeface="メイリオ" panose="020B0604030504040204" pitchFamily="50" charset="-128"/>
              <a:ea typeface="メイリオ" panose="020B0604030504040204" pitchFamily="50" charset="-128"/>
            </a:endParaRPr>
          </a:p>
        </p:txBody>
      </p:sp>
      <p:grpSp>
        <p:nvGrpSpPr>
          <p:cNvPr id="2" name="グループ化 1">
            <a:extLst>
              <a:ext uri="{FF2B5EF4-FFF2-40B4-BE49-F238E27FC236}">
                <a16:creationId xmlns:a16="http://schemas.microsoft.com/office/drawing/2014/main" id="{3DFC7556-F334-40B7-A5D8-1FCEC5E43E4E}"/>
              </a:ext>
            </a:extLst>
          </p:cNvPr>
          <p:cNvGrpSpPr/>
          <p:nvPr/>
        </p:nvGrpSpPr>
        <p:grpSpPr>
          <a:xfrm>
            <a:off x="2266144" y="2876263"/>
            <a:ext cx="2035712" cy="3402000"/>
            <a:chOff x="2266144" y="2829308"/>
            <a:chExt cx="2035712" cy="3402000"/>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82DE07C2-D30D-74E7-D38D-194F9A9D19B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4530" y="2829308"/>
              <a:ext cx="1637326" cy="3402000"/>
            </a:xfrm>
            <a:prstGeom prst="rect">
              <a:avLst/>
            </a:prstGeom>
            <a:ln>
              <a:solidFill>
                <a:schemeClr val="tx1"/>
              </a:solidFill>
            </a:ln>
          </p:spPr>
        </p:pic>
        <p:sp>
          <p:nvSpPr>
            <p:cNvPr id="28" name="四角形: 角を丸くする 27">
              <a:extLst>
                <a:ext uri="{FF2B5EF4-FFF2-40B4-BE49-F238E27FC236}">
                  <a16:creationId xmlns:a16="http://schemas.microsoft.com/office/drawing/2014/main" id="{14921654-D89B-A6BA-215C-6DFA403C58CC}"/>
                </a:ext>
              </a:extLst>
            </p:cNvPr>
            <p:cNvSpPr/>
            <p:nvPr/>
          </p:nvSpPr>
          <p:spPr>
            <a:xfrm>
              <a:off x="2723344" y="4406237"/>
              <a:ext cx="1512431" cy="7061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D8E89710-A5E5-B8DC-E433-18DDCAB47817}"/>
                </a:ext>
              </a:extLst>
            </p:cNvPr>
            <p:cNvSpPr txBox="1"/>
            <p:nvPr/>
          </p:nvSpPr>
          <p:spPr>
            <a:xfrm>
              <a:off x="2266144" y="4387877"/>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⓮</a:t>
              </a:r>
              <a:endParaRPr lang="ja-JP" altLang="en-US" sz="2000" dirty="0">
                <a:latin typeface="メイリオ" panose="020B0604030504040204" pitchFamily="50" charset="-128"/>
                <a:ea typeface="メイリオ" panose="020B0604030504040204" pitchFamily="50" charset="-128"/>
              </a:endParaRPr>
            </a:p>
          </p:txBody>
        </p:sp>
      </p:grpSp>
      <p:grpSp>
        <p:nvGrpSpPr>
          <p:cNvPr id="5" name="グループ化 4">
            <a:extLst>
              <a:ext uri="{FF2B5EF4-FFF2-40B4-BE49-F238E27FC236}">
                <a16:creationId xmlns:a16="http://schemas.microsoft.com/office/drawing/2014/main" id="{FBC2BAE1-26FB-4AF1-AE44-DE402FA6D6AC}"/>
              </a:ext>
            </a:extLst>
          </p:cNvPr>
          <p:cNvGrpSpPr/>
          <p:nvPr/>
        </p:nvGrpSpPr>
        <p:grpSpPr>
          <a:xfrm>
            <a:off x="4452502" y="2864604"/>
            <a:ext cx="2050939" cy="3425318"/>
            <a:chOff x="4456516" y="2805991"/>
            <a:chExt cx="2050939" cy="3425318"/>
          </a:xfrm>
        </p:grpSpPr>
        <p:pic>
          <p:nvPicPr>
            <p:cNvPr id="20" name="図 19" descr="テキスト, 手紙&#10;&#10;自動的に生成された説明">
              <a:extLst>
                <a:ext uri="{FF2B5EF4-FFF2-40B4-BE49-F238E27FC236}">
                  <a16:creationId xmlns:a16="http://schemas.microsoft.com/office/drawing/2014/main" id="{8430B460-D611-7F88-7C06-08A76341F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8906" y="2805991"/>
              <a:ext cx="1648549" cy="3425318"/>
            </a:xfrm>
            <a:prstGeom prst="rect">
              <a:avLst/>
            </a:prstGeom>
            <a:ln>
              <a:solidFill>
                <a:schemeClr val="tx1"/>
              </a:solidFill>
            </a:ln>
          </p:spPr>
        </p:pic>
        <p:sp>
          <p:nvSpPr>
            <p:cNvPr id="25" name="四角形: 角を丸くする 24">
              <a:extLst>
                <a:ext uri="{FF2B5EF4-FFF2-40B4-BE49-F238E27FC236}">
                  <a16:creationId xmlns:a16="http://schemas.microsoft.com/office/drawing/2014/main" id="{B81E8C33-473A-567C-07A2-A0D9E6F8C2AA}"/>
                </a:ext>
              </a:extLst>
            </p:cNvPr>
            <p:cNvSpPr/>
            <p:nvPr/>
          </p:nvSpPr>
          <p:spPr>
            <a:xfrm>
              <a:off x="4963100" y="4839493"/>
              <a:ext cx="1440160" cy="217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90652805-AE2E-B455-5478-D4D1C4958993}"/>
                </a:ext>
              </a:extLst>
            </p:cNvPr>
            <p:cNvSpPr txBox="1"/>
            <p:nvPr/>
          </p:nvSpPr>
          <p:spPr>
            <a:xfrm>
              <a:off x="4456516" y="4649487"/>
              <a:ext cx="55705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⓯</a:t>
              </a:r>
              <a:endParaRPr lang="ja-JP" altLang="en-US" sz="2000" dirty="0">
                <a:latin typeface="メイリオ" panose="020B0604030504040204" pitchFamily="50" charset="-128"/>
                <a:ea typeface="メイリオ" panose="020B0604030504040204" pitchFamily="50" charset="-128"/>
              </a:endParaRPr>
            </a:p>
          </p:txBody>
        </p:sp>
      </p:grpSp>
      <p:grpSp>
        <p:nvGrpSpPr>
          <p:cNvPr id="8" name="グループ化 7">
            <a:extLst>
              <a:ext uri="{FF2B5EF4-FFF2-40B4-BE49-F238E27FC236}">
                <a16:creationId xmlns:a16="http://schemas.microsoft.com/office/drawing/2014/main" id="{E6842133-FBD5-4DB3-A7A8-488C16035BA7}"/>
              </a:ext>
            </a:extLst>
          </p:cNvPr>
          <p:cNvGrpSpPr/>
          <p:nvPr/>
        </p:nvGrpSpPr>
        <p:grpSpPr>
          <a:xfrm>
            <a:off x="6521910" y="2864604"/>
            <a:ext cx="2095920" cy="3401999"/>
            <a:chOff x="6521910" y="2780928"/>
            <a:chExt cx="2095920" cy="3401999"/>
          </a:xfrm>
        </p:grpSpPr>
        <p:pic>
          <p:nvPicPr>
            <p:cNvPr id="30" name="図 29" descr="テキスト が含まれている画像&#10;&#10;自動的に生成された説明">
              <a:extLst>
                <a:ext uri="{FF2B5EF4-FFF2-40B4-BE49-F238E27FC236}">
                  <a16:creationId xmlns:a16="http://schemas.microsoft.com/office/drawing/2014/main" id="{EB580F91-3D89-EEE0-DF92-AA95E91D5F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E733ECC1-61E5-3C48-B3F9-844BBDAC463A}"/>
                </a:ext>
              </a:extLst>
            </p:cNvPr>
            <p:cNvSpPr/>
            <p:nvPr/>
          </p:nvSpPr>
          <p:spPr>
            <a:xfrm>
              <a:off x="6985268"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31691E96-8CCF-7E1B-1F10-8DC185C9B903}"/>
                </a:ext>
              </a:extLst>
            </p:cNvPr>
            <p:cNvSpPr txBox="1"/>
            <p:nvPr/>
          </p:nvSpPr>
          <p:spPr>
            <a:xfrm>
              <a:off x="6521910" y="3943085"/>
              <a:ext cx="45474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⓰</a:t>
              </a:r>
              <a:endParaRPr lang="ja-JP" altLang="en-US" sz="2000" dirty="0">
                <a:latin typeface="メイリオ" panose="020B0604030504040204" pitchFamily="50" charset="-128"/>
                <a:ea typeface="メイリオ" panose="020B0604030504040204" pitchFamily="50" charset="-128"/>
              </a:endParaRPr>
            </a:p>
          </p:txBody>
        </p:sp>
      </p:grpSp>
      <p:sp>
        <p:nvSpPr>
          <p:cNvPr id="21" name="テキスト ボックス 20">
            <a:extLst>
              <a:ext uri="{FF2B5EF4-FFF2-40B4-BE49-F238E27FC236}">
                <a16:creationId xmlns:a16="http://schemas.microsoft.com/office/drawing/2014/main" id="{E3B0CAB3-7C5C-4F0F-8428-E690F205814A}"/>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3867191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6844F62E-7595-7B69-98FF-63E6966890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6099" y="2859098"/>
            <a:ext cx="1642099" cy="3411916"/>
          </a:xfrm>
          <a:prstGeom prst="rect">
            <a:avLst/>
          </a:prstGeom>
          <a:ln>
            <a:solidFill>
              <a:schemeClr val="tx1"/>
            </a:solidFill>
          </a:ln>
        </p:spPr>
      </p:pic>
      <p:pic>
        <p:nvPicPr>
          <p:cNvPr id="26" name="図 25" descr="テキスト&#10;&#10;自動的に生成された説明">
            <a:extLst>
              <a:ext uri="{FF2B5EF4-FFF2-40B4-BE49-F238E27FC236}">
                <a16:creationId xmlns:a16="http://schemas.microsoft.com/office/drawing/2014/main" id="{004C6374-E3B1-6EDF-E46D-625AF2EBB7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55027" y="2852936"/>
            <a:ext cx="1639135" cy="3405757"/>
          </a:xfrm>
          <a:prstGeom prst="rect">
            <a:avLst/>
          </a:prstGeom>
          <a:ln>
            <a:solidFill>
              <a:schemeClr val="tx1"/>
            </a:solidFill>
          </a:ln>
        </p:spPr>
      </p:pic>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5031AAD8-5946-928A-7D0C-9F15EDF48E4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7085" y="2859097"/>
            <a:ext cx="1639134" cy="3405756"/>
          </a:xfrm>
          <a:prstGeom prst="rect">
            <a:avLst/>
          </a:prstGeom>
          <a:ln>
            <a:solidFill>
              <a:schemeClr val="tx1"/>
            </a:solidFill>
          </a:ln>
        </p:spPr>
      </p:pic>
      <p:pic>
        <p:nvPicPr>
          <p:cNvPr id="30" name="図 29" descr="テキスト, 手紙&#10;&#10;自動的に生成された説明">
            <a:extLst>
              <a:ext uri="{FF2B5EF4-FFF2-40B4-BE49-F238E27FC236}">
                <a16:creationId xmlns:a16="http://schemas.microsoft.com/office/drawing/2014/main" id="{3AC62998-246D-90F6-C9C7-BA6CD40159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7360" y="2852936"/>
            <a:ext cx="1642099" cy="341191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6160" y="2132998"/>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⓱</a:t>
            </a:r>
            <a:r>
              <a:rPr lang="ja-JP" altLang="en-US" sz="1600" b="1" dirty="0">
                <a:latin typeface="メイリオ"/>
                <a:ea typeface="メイリオ"/>
              </a:rPr>
              <a:t>上にスクロール</a:t>
            </a:r>
            <a:endParaRPr lang="en-US" altLang="ja-JP" sz="1600" b="1" dirty="0">
              <a:latin typeface="メイリオ"/>
              <a:ea typeface="メイリオ"/>
            </a:endParaRPr>
          </a:p>
          <a:p>
            <a:r>
              <a:rPr lang="ja-JP" altLang="en-US" sz="1600" b="1" dirty="0">
                <a:latin typeface="メイリオ"/>
                <a:ea typeface="メイリオ"/>
              </a:rPr>
              <a:t>　する</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507029" y="1989929"/>
            <a:ext cx="210515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⓳</a:t>
            </a:r>
            <a:r>
              <a:rPr lang="ja-JP" altLang="en-US" sz="1600" b="1" dirty="0">
                <a:latin typeface="メイリオ"/>
                <a:ea typeface="メイリオ"/>
              </a:rPr>
              <a:t>お知らせメールの配信希望を選択する</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41185" y="195640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⓴</a:t>
            </a:r>
            <a:r>
              <a:rPr lang="ja-JP" altLang="en-US" sz="1600" b="1" dirty="0">
                <a:latin typeface="メイリオ"/>
                <a:ea typeface="メイリオ"/>
              </a:rPr>
              <a:t>「登録</a:t>
            </a:r>
            <a:r>
              <a:rPr lang="en-US" altLang="ja-JP" sz="1600" b="1" dirty="0">
                <a:latin typeface="メイリオ"/>
                <a:ea typeface="メイリオ"/>
              </a:rPr>
              <a:t>/</a:t>
            </a:r>
            <a:r>
              <a:rPr lang="ja-JP" altLang="en-US" sz="1600" b="1" dirty="0">
                <a:latin typeface="メイリオ"/>
                <a:ea typeface="メイリオ"/>
              </a:rPr>
              <a:t>変更内</a:t>
            </a:r>
            <a:endParaRPr lang="en-US" altLang="ja-JP" sz="1600" b="1" dirty="0">
              <a:latin typeface="メイリオ"/>
              <a:ea typeface="メイリオ"/>
            </a:endParaRPr>
          </a:p>
          <a:p>
            <a:r>
              <a:rPr lang="ja-JP" altLang="en-US" sz="1600" b="1" dirty="0">
                <a:latin typeface="メイリオ"/>
                <a:ea typeface="メイリオ"/>
              </a:rPr>
              <a:t>　容を確認する」</a:t>
            </a:r>
            <a:endParaRPr lang="en-US" altLang="ja-JP" sz="1600" b="1" dirty="0">
              <a:latin typeface="メイリオ"/>
              <a:ea typeface="メイリオ"/>
            </a:endParaRPr>
          </a:p>
          <a:p>
            <a:r>
              <a:rPr lang="ja-JP" altLang="en-US" sz="1600" b="1" dirty="0">
                <a:latin typeface="メイリオ"/>
                <a:ea typeface="メイリオ"/>
              </a:rPr>
              <a:t>　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502853" y="2145050"/>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⓲</a:t>
            </a:r>
            <a:r>
              <a:rPr lang="ja-JP" altLang="en-US" sz="1600" b="1" dirty="0">
                <a:latin typeface="メイリオ"/>
                <a:ea typeface="メイリオ"/>
              </a:rPr>
              <a:t>メールアドレス</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16" name="矢印: 下 15">
            <a:extLst>
              <a:ext uri="{FF2B5EF4-FFF2-40B4-BE49-F238E27FC236}">
                <a16:creationId xmlns:a16="http://schemas.microsoft.com/office/drawing/2014/main" id="{8241C2CE-D238-FCE2-2F67-A3C6306B6202}"/>
              </a:ext>
            </a:extLst>
          </p:cNvPr>
          <p:cNvSpPr/>
          <p:nvPr/>
        </p:nvSpPr>
        <p:spPr>
          <a:xfrm flipV="1">
            <a:off x="1166474" y="3987975"/>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2685819" y="3189282"/>
            <a:ext cx="1636977" cy="113041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4855037" y="3524370"/>
            <a:ext cx="1642099" cy="367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775DED6A-444F-0790-86FB-FB8ED9C57159}"/>
              </a:ext>
            </a:extLst>
          </p:cNvPr>
          <p:cNvSpPr/>
          <p:nvPr/>
        </p:nvSpPr>
        <p:spPr>
          <a:xfrm>
            <a:off x="7347755" y="5403120"/>
            <a:ext cx="925250" cy="2170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6FB055A4-FED1-1A75-C5C0-D2974AD34712}"/>
              </a:ext>
            </a:extLst>
          </p:cNvPr>
          <p:cNvSpPr txBox="1"/>
          <p:nvPr/>
        </p:nvSpPr>
        <p:spPr>
          <a:xfrm>
            <a:off x="149508" y="284088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⓱</a:t>
            </a:r>
            <a:endParaRPr lang="ja-JP" altLang="en-US" sz="20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1AC3236-5650-A337-8AB1-D27213FEE2D2}"/>
              </a:ext>
            </a:extLst>
          </p:cNvPr>
          <p:cNvSpPr txBox="1"/>
          <p:nvPr/>
        </p:nvSpPr>
        <p:spPr>
          <a:xfrm>
            <a:off x="2288642" y="293946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⓲</a:t>
            </a:r>
            <a:endParaRPr lang="ja-JP" altLang="en-US" sz="20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3090785-7282-6DDF-5E1B-44F106ACC0BA}"/>
              </a:ext>
            </a:extLst>
          </p:cNvPr>
          <p:cNvSpPr txBox="1"/>
          <p:nvPr/>
        </p:nvSpPr>
        <p:spPr>
          <a:xfrm>
            <a:off x="4442447" y="3219789"/>
            <a:ext cx="490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⓳</a:t>
            </a:r>
            <a:endParaRPr lang="ja-JP" altLang="en-US" sz="2000"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67D82417-C6F3-0864-A76B-5C3E5AB92700}"/>
              </a:ext>
            </a:extLst>
          </p:cNvPr>
          <p:cNvSpPr txBox="1"/>
          <p:nvPr/>
        </p:nvSpPr>
        <p:spPr>
          <a:xfrm>
            <a:off x="6906742" y="5183614"/>
            <a:ext cx="514497"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⓴</a:t>
            </a:r>
            <a:endParaRPr lang="ja-JP" altLang="en-US" sz="20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D453D92E-50D8-403A-90BD-59D4613C4B3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349580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C523F112-8889-4E40-4442-CB850BC36A3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90413" y="2851211"/>
            <a:ext cx="1642929" cy="3413641"/>
          </a:xfrm>
          <a:prstGeom prst="rect">
            <a:avLst/>
          </a:prstGeom>
          <a:ln>
            <a:solidFill>
              <a:schemeClr val="tx1"/>
            </a:solidFill>
          </a:ln>
        </p:spPr>
      </p:pic>
      <p:pic>
        <p:nvPicPr>
          <p:cNvPr id="15" name="図 14" descr="グラフィカル ユーザー インターフェイス, テキスト, アプリケーション&#10;&#10;自動的に生成された説明">
            <a:extLst>
              <a:ext uri="{FF2B5EF4-FFF2-40B4-BE49-F238E27FC236}">
                <a16:creationId xmlns:a16="http://schemas.microsoft.com/office/drawing/2014/main" id="{50796CCB-A33D-824D-132C-37456ABE37E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67230" y="2851211"/>
            <a:ext cx="1642929" cy="3413641"/>
          </a:xfrm>
          <a:prstGeom prst="rect">
            <a:avLst/>
          </a:prstGeom>
          <a:ln>
            <a:solidFill>
              <a:schemeClr val="tx1"/>
            </a:solid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E22B7132-7F61-8AB2-68A1-3CADCBB04D2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67453" y="2851211"/>
            <a:ext cx="1642929" cy="3413641"/>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4E7900D4-F169-FA77-B97A-ED1A816BF78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6167" y="2851211"/>
            <a:ext cx="1642929" cy="3413641"/>
          </a:xfrm>
          <a:prstGeom prst="rect">
            <a:avLst/>
          </a:prstGeom>
          <a:ln>
            <a:solidFill>
              <a:schemeClr val="tx1"/>
            </a:solidFill>
          </a:ln>
        </p:spPr>
      </p:pic>
      <p:sp>
        <p:nvSpPr>
          <p:cNvPr id="26" name="Title 1">
            <a:extLst>
              <a:ext uri="{FF2B5EF4-FFF2-40B4-BE49-F238E27FC236}">
                <a16:creationId xmlns:a16="http://schemas.microsoft.com/office/drawing/2014/main" id="{5335DF3F-649A-37FF-EE64-19DCFF64705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7" name="タイトル 1">
            <a:extLst>
              <a:ext uri="{FF2B5EF4-FFF2-40B4-BE49-F238E27FC236}">
                <a16:creationId xmlns:a16="http://schemas.microsoft.com/office/drawing/2014/main" id="{4CEE05B3-B061-9B98-7B6A-DA294A255820}"/>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テキスト ボックス 27">
            <a:extLst>
              <a:ext uri="{FF2B5EF4-FFF2-40B4-BE49-F238E27FC236}">
                <a16:creationId xmlns:a16="http://schemas.microsoft.com/office/drawing/2014/main" id="{A25AD82A-1F30-6725-9DC0-FE09B8260432}"/>
              </a:ext>
            </a:extLst>
          </p:cNvPr>
          <p:cNvSpPr txBox="1"/>
          <p:nvPr/>
        </p:nvSpPr>
        <p:spPr>
          <a:xfrm>
            <a:off x="372162" y="2100584"/>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入力内容を登</a:t>
            </a:r>
            <a:endParaRPr lang="en-US" altLang="ja-JP" sz="1600" b="1" dirty="0">
              <a:latin typeface="メイリオ"/>
              <a:ea typeface="メイリオ"/>
            </a:endParaRPr>
          </a:p>
          <a:p>
            <a:r>
              <a:rPr lang="ja-JP" altLang="en-US" sz="1600" b="1" dirty="0">
                <a:latin typeface="メイリオ"/>
                <a:ea typeface="メイリオ"/>
              </a:rPr>
              <a:t>　録する」を押す</a:t>
            </a:r>
            <a:endParaRPr lang="en-US" altLang="ja-JP" sz="1600" b="1" dirty="0">
              <a:latin typeface="メイリオ"/>
              <a:ea typeface="メイリオ"/>
            </a:endParaRPr>
          </a:p>
        </p:txBody>
      </p:sp>
      <p:sp>
        <p:nvSpPr>
          <p:cNvPr id="29" name="テキスト ボックス 28">
            <a:extLst>
              <a:ext uri="{FF2B5EF4-FFF2-40B4-BE49-F238E27FC236}">
                <a16:creationId xmlns:a16="http://schemas.microsoft.com/office/drawing/2014/main" id="{6EC0F33E-CA97-8AE7-9946-D30A8AA7EFFA}"/>
              </a:ext>
            </a:extLst>
          </p:cNvPr>
          <p:cNvSpPr txBox="1"/>
          <p:nvPr/>
        </p:nvSpPr>
        <p:spPr>
          <a:xfrm>
            <a:off x="4710287" y="210058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閉じる」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30" name="テキスト ボックス 29">
            <a:extLst>
              <a:ext uri="{FF2B5EF4-FFF2-40B4-BE49-F238E27FC236}">
                <a16:creationId xmlns:a16="http://schemas.microsoft.com/office/drawing/2014/main" id="{78A6D2E5-F98A-2C34-FA48-56E798B4339F}"/>
              </a:ext>
            </a:extLst>
          </p:cNvPr>
          <p:cNvSpPr txBox="1"/>
          <p:nvPr/>
        </p:nvSpPr>
        <p:spPr>
          <a:xfrm>
            <a:off x="6804249" y="1938392"/>
            <a:ext cx="2013329"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sp>
        <p:nvSpPr>
          <p:cNvPr id="31" name="テキスト ボックス 30">
            <a:extLst>
              <a:ext uri="{FF2B5EF4-FFF2-40B4-BE49-F238E27FC236}">
                <a16:creationId xmlns:a16="http://schemas.microsoft.com/office/drawing/2014/main" id="{716F8B0B-E82D-B726-3CCE-63D64A82E7DB}"/>
              </a:ext>
            </a:extLst>
          </p:cNvPr>
          <p:cNvSpPr txBox="1"/>
          <p:nvPr/>
        </p:nvSpPr>
        <p:spPr>
          <a:xfrm>
            <a:off x="2384583" y="1938393"/>
            <a:ext cx="225755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ねんきんネッ</a:t>
            </a:r>
            <a:endParaRPr lang="en-US" altLang="ja-JP" sz="1600" b="1" dirty="0">
              <a:latin typeface="メイリオ"/>
              <a:ea typeface="メイリオ"/>
            </a:endParaRPr>
          </a:p>
          <a:p>
            <a:r>
              <a:rPr lang="ja-JP" altLang="en-US" sz="1600" b="1" dirty="0">
                <a:latin typeface="メイリオ"/>
                <a:ea typeface="メイリオ"/>
              </a:rPr>
              <a:t>　ト（トップペー</a:t>
            </a:r>
            <a:endParaRPr lang="en-US" altLang="ja-JP" sz="1600" b="1" dirty="0">
              <a:latin typeface="メイリオ"/>
              <a:ea typeface="メイリオ"/>
            </a:endParaRPr>
          </a:p>
          <a:p>
            <a:r>
              <a:rPr lang="ja-JP" altLang="en-US" sz="1600" b="1" dirty="0">
                <a:latin typeface="メイリオ"/>
                <a:ea typeface="メイリオ"/>
              </a:rPr>
              <a:t>　ジ）へ戻る」を押す</a:t>
            </a:r>
            <a:endParaRPr lang="en-US" altLang="ja-JP" sz="1600" b="1" dirty="0">
              <a:latin typeface="メイリオ"/>
              <a:ea typeface="メイリオ"/>
            </a:endParaRPr>
          </a:p>
        </p:txBody>
      </p:sp>
      <p:sp>
        <p:nvSpPr>
          <p:cNvPr id="32" name="四角形: 角を丸くする 31">
            <a:extLst>
              <a:ext uri="{FF2B5EF4-FFF2-40B4-BE49-F238E27FC236}">
                <a16:creationId xmlns:a16="http://schemas.microsoft.com/office/drawing/2014/main" id="{8FF866F8-B13E-11A2-D100-421F1BA3EC9E}"/>
              </a:ext>
            </a:extLst>
          </p:cNvPr>
          <p:cNvSpPr/>
          <p:nvPr/>
        </p:nvSpPr>
        <p:spPr>
          <a:xfrm>
            <a:off x="2828641" y="4307579"/>
            <a:ext cx="1314836" cy="2625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C30C1EBD-07C4-4AED-5B6F-BB44E0C5361B}"/>
              </a:ext>
            </a:extLst>
          </p:cNvPr>
          <p:cNvSpPr/>
          <p:nvPr/>
        </p:nvSpPr>
        <p:spPr>
          <a:xfrm>
            <a:off x="5409390" y="5408648"/>
            <a:ext cx="56886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四角形: 角を丸くする 33">
            <a:extLst>
              <a:ext uri="{FF2B5EF4-FFF2-40B4-BE49-F238E27FC236}">
                <a16:creationId xmlns:a16="http://schemas.microsoft.com/office/drawing/2014/main" id="{9C3BD58A-5D13-0575-093A-87936921D206}"/>
              </a:ext>
            </a:extLst>
          </p:cNvPr>
          <p:cNvSpPr/>
          <p:nvPr/>
        </p:nvSpPr>
        <p:spPr>
          <a:xfrm>
            <a:off x="886003" y="4983033"/>
            <a:ext cx="898050" cy="26263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正方形/長方形 34">
            <a:extLst>
              <a:ext uri="{FF2B5EF4-FFF2-40B4-BE49-F238E27FC236}">
                <a16:creationId xmlns:a16="http://schemas.microsoft.com/office/drawing/2014/main" id="{5F3662F8-0AEF-E274-DF51-C08CDE372FD3}"/>
              </a:ext>
            </a:extLst>
          </p:cNvPr>
          <p:cNvSpPr/>
          <p:nvPr/>
        </p:nvSpPr>
        <p:spPr>
          <a:xfrm>
            <a:off x="7483931" y="5085184"/>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正方形/長方形 35">
            <a:extLst>
              <a:ext uri="{FF2B5EF4-FFF2-40B4-BE49-F238E27FC236}">
                <a16:creationId xmlns:a16="http://schemas.microsoft.com/office/drawing/2014/main" id="{9C1CFC23-E64A-0267-D452-24AE33844F47}"/>
              </a:ext>
            </a:extLst>
          </p:cNvPr>
          <p:cNvSpPr/>
          <p:nvPr/>
        </p:nvSpPr>
        <p:spPr>
          <a:xfrm>
            <a:off x="7420307" y="4950694"/>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テキスト ボックス 36">
            <a:extLst>
              <a:ext uri="{FF2B5EF4-FFF2-40B4-BE49-F238E27FC236}">
                <a16:creationId xmlns:a16="http://schemas.microsoft.com/office/drawing/2014/main" id="{D10971E6-6F78-D3C9-B74D-C294A1814CEE}"/>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38" name="楕円 37">
            <a:extLst>
              <a:ext uri="{FF2B5EF4-FFF2-40B4-BE49-F238E27FC236}">
                <a16:creationId xmlns:a16="http://schemas.microsoft.com/office/drawing/2014/main" id="{5A98F555-B0EA-CCCF-D56A-C00122794F9E}"/>
              </a:ext>
            </a:extLst>
          </p:cNvPr>
          <p:cNvSpPr/>
          <p:nvPr/>
        </p:nvSpPr>
        <p:spPr>
          <a:xfrm>
            <a:off x="560781" y="2197668"/>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テキスト ボックス 38">
            <a:extLst>
              <a:ext uri="{FF2B5EF4-FFF2-40B4-BE49-F238E27FC236}">
                <a16:creationId xmlns:a16="http://schemas.microsoft.com/office/drawing/2014/main" id="{ABCF8A3A-FD91-8CA3-6D24-BB2D8F6DB106}"/>
              </a:ext>
            </a:extLst>
          </p:cNvPr>
          <p:cNvSpPr txBox="1"/>
          <p:nvPr/>
        </p:nvSpPr>
        <p:spPr>
          <a:xfrm>
            <a:off x="453414" y="2144371"/>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㉑</a:t>
            </a:r>
            <a:endParaRPr lang="en-US" altLang="ja-JP" sz="1600" b="1" dirty="0">
              <a:solidFill>
                <a:schemeClr val="bg1"/>
              </a:solidFill>
              <a:latin typeface="メイリオ"/>
              <a:ea typeface="メイリオ"/>
            </a:endParaRPr>
          </a:p>
        </p:txBody>
      </p:sp>
      <p:sp>
        <p:nvSpPr>
          <p:cNvPr id="40" name="楕円 39">
            <a:extLst>
              <a:ext uri="{FF2B5EF4-FFF2-40B4-BE49-F238E27FC236}">
                <a16:creationId xmlns:a16="http://schemas.microsoft.com/office/drawing/2014/main" id="{C148A897-D97A-B6D0-83B4-62FB30D930C7}"/>
              </a:ext>
            </a:extLst>
          </p:cNvPr>
          <p:cNvSpPr/>
          <p:nvPr/>
        </p:nvSpPr>
        <p:spPr>
          <a:xfrm>
            <a:off x="2606096" y="2020132"/>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9801A2B5-7195-B4C4-FA2B-2BEE97E72267}"/>
              </a:ext>
            </a:extLst>
          </p:cNvPr>
          <p:cNvSpPr txBox="1"/>
          <p:nvPr/>
        </p:nvSpPr>
        <p:spPr>
          <a:xfrm>
            <a:off x="2498729" y="1966835"/>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㉒</a:t>
            </a:r>
            <a:endParaRPr lang="en-US" altLang="ja-JP" sz="1600" b="1" dirty="0">
              <a:solidFill>
                <a:schemeClr val="bg1"/>
              </a:solidFill>
              <a:latin typeface="メイリオ"/>
              <a:ea typeface="メイリオ"/>
            </a:endParaRPr>
          </a:p>
        </p:txBody>
      </p:sp>
      <p:sp>
        <p:nvSpPr>
          <p:cNvPr id="42" name="楕円 41">
            <a:extLst>
              <a:ext uri="{FF2B5EF4-FFF2-40B4-BE49-F238E27FC236}">
                <a16:creationId xmlns:a16="http://schemas.microsoft.com/office/drawing/2014/main" id="{39A7B226-3012-7202-6648-31D57119A187}"/>
              </a:ext>
            </a:extLst>
          </p:cNvPr>
          <p:cNvSpPr/>
          <p:nvPr/>
        </p:nvSpPr>
        <p:spPr>
          <a:xfrm>
            <a:off x="4862826" y="2169744"/>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3" name="テキスト ボックス 42">
            <a:extLst>
              <a:ext uri="{FF2B5EF4-FFF2-40B4-BE49-F238E27FC236}">
                <a16:creationId xmlns:a16="http://schemas.microsoft.com/office/drawing/2014/main" id="{D139DE28-4E39-AAE3-1A29-D7E67AC3EF2C}"/>
              </a:ext>
            </a:extLst>
          </p:cNvPr>
          <p:cNvSpPr txBox="1"/>
          <p:nvPr/>
        </p:nvSpPr>
        <p:spPr>
          <a:xfrm>
            <a:off x="4755459" y="2116447"/>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㉓</a:t>
            </a:r>
            <a:endParaRPr lang="en-US" altLang="ja-JP" sz="1600" b="1" dirty="0">
              <a:solidFill>
                <a:schemeClr val="bg1"/>
              </a:solidFill>
              <a:latin typeface="メイリオ"/>
              <a:ea typeface="メイリオ"/>
            </a:endParaRPr>
          </a:p>
        </p:txBody>
      </p:sp>
      <p:sp>
        <p:nvSpPr>
          <p:cNvPr id="44" name="楕円 43">
            <a:extLst>
              <a:ext uri="{FF2B5EF4-FFF2-40B4-BE49-F238E27FC236}">
                <a16:creationId xmlns:a16="http://schemas.microsoft.com/office/drawing/2014/main" id="{42270D6B-226E-7F85-C7AD-E9D24C5D32C4}"/>
              </a:ext>
            </a:extLst>
          </p:cNvPr>
          <p:cNvSpPr/>
          <p:nvPr/>
        </p:nvSpPr>
        <p:spPr>
          <a:xfrm>
            <a:off x="6979126" y="2013908"/>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テキスト ボックス 44">
            <a:extLst>
              <a:ext uri="{FF2B5EF4-FFF2-40B4-BE49-F238E27FC236}">
                <a16:creationId xmlns:a16="http://schemas.microsoft.com/office/drawing/2014/main" id="{5433CBA0-EF71-5A60-D89A-2B7D49242871}"/>
              </a:ext>
            </a:extLst>
          </p:cNvPr>
          <p:cNvSpPr txBox="1"/>
          <p:nvPr/>
        </p:nvSpPr>
        <p:spPr>
          <a:xfrm>
            <a:off x="6871759" y="1960611"/>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㉔</a:t>
            </a:r>
            <a:endParaRPr lang="en-US" altLang="ja-JP" sz="1600" b="1" dirty="0">
              <a:solidFill>
                <a:schemeClr val="bg1"/>
              </a:solidFill>
              <a:latin typeface="メイリオ"/>
              <a:ea typeface="メイリオ"/>
            </a:endParaRPr>
          </a:p>
        </p:txBody>
      </p:sp>
      <p:sp>
        <p:nvSpPr>
          <p:cNvPr id="46" name="楕円 45">
            <a:extLst>
              <a:ext uri="{FF2B5EF4-FFF2-40B4-BE49-F238E27FC236}">
                <a16:creationId xmlns:a16="http://schemas.microsoft.com/office/drawing/2014/main" id="{DCDE5178-640F-EA98-A33F-DB42D1A6E0E5}"/>
              </a:ext>
            </a:extLst>
          </p:cNvPr>
          <p:cNvSpPr/>
          <p:nvPr/>
        </p:nvSpPr>
        <p:spPr>
          <a:xfrm>
            <a:off x="572107" y="498639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テキスト ボックス 46">
            <a:extLst>
              <a:ext uri="{FF2B5EF4-FFF2-40B4-BE49-F238E27FC236}">
                <a16:creationId xmlns:a16="http://schemas.microsoft.com/office/drawing/2014/main" id="{5F0CF9D1-E863-C5DC-FE89-80B6D5C3B8B7}"/>
              </a:ext>
            </a:extLst>
          </p:cNvPr>
          <p:cNvSpPr txBox="1"/>
          <p:nvPr/>
        </p:nvSpPr>
        <p:spPr>
          <a:xfrm>
            <a:off x="464740" y="493310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㉑</a:t>
            </a:r>
            <a:endParaRPr lang="en-US" altLang="ja-JP" sz="1600" b="1" dirty="0">
              <a:solidFill>
                <a:schemeClr val="bg1"/>
              </a:solidFill>
              <a:latin typeface="メイリオ"/>
              <a:ea typeface="メイリオ"/>
            </a:endParaRPr>
          </a:p>
        </p:txBody>
      </p:sp>
      <p:sp>
        <p:nvSpPr>
          <p:cNvPr id="48" name="楕円 47">
            <a:extLst>
              <a:ext uri="{FF2B5EF4-FFF2-40B4-BE49-F238E27FC236}">
                <a16:creationId xmlns:a16="http://schemas.microsoft.com/office/drawing/2014/main" id="{8799B495-8D6E-C003-60BD-17CF0B908DAD}"/>
              </a:ext>
            </a:extLst>
          </p:cNvPr>
          <p:cNvSpPr/>
          <p:nvPr/>
        </p:nvSpPr>
        <p:spPr>
          <a:xfrm>
            <a:off x="2709596" y="399798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テキスト ボックス 48">
            <a:extLst>
              <a:ext uri="{FF2B5EF4-FFF2-40B4-BE49-F238E27FC236}">
                <a16:creationId xmlns:a16="http://schemas.microsoft.com/office/drawing/2014/main" id="{D8B97F87-101F-2198-DD44-1A0423691A88}"/>
              </a:ext>
            </a:extLst>
          </p:cNvPr>
          <p:cNvSpPr txBox="1"/>
          <p:nvPr/>
        </p:nvSpPr>
        <p:spPr>
          <a:xfrm>
            <a:off x="2602229" y="394469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㉒</a:t>
            </a:r>
            <a:endParaRPr lang="en-US" altLang="ja-JP" sz="1600" b="1" dirty="0">
              <a:solidFill>
                <a:schemeClr val="bg1"/>
              </a:solidFill>
              <a:latin typeface="メイリオ"/>
              <a:ea typeface="メイリオ"/>
            </a:endParaRPr>
          </a:p>
        </p:txBody>
      </p:sp>
      <p:sp>
        <p:nvSpPr>
          <p:cNvPr id="50" name="楕円 49">
            <a:extLst>
              <a:ext uri="{FF2B5EF4-FFF2-40B4-BE49-F238E27FC236}">
                <a16:creationId xmlns:a16="http://schemas.microsoft.com/office/drawing/2014/main" id="{0FABCBC1-E370-E727-97ED-93D06325DD81}"/>
              </a:ext>
            </a:extLst>
          </p:cNvPr>
          <p:cNvSpPr/>
          <p:nvPr/>
        </p:nvSpPr>
        <p:spPr>
          <a:xfrm>
            <a:off x="5064612" y="534129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テキスト ボックス 50">
            <a:extLst>
              <a:ext uri="{FF2B5EF4-FFF2-40B4-BE49-F238E27FC236}">
                <a16:creationId xmlns:a16="http://schemas.microsoft.com/office/drawing/2014/main" id="{3DE1F65A-47D3-AA84-0F65-ED10CF2F0452}"/>
              </a:ext>
            </a:extLst>
          </p:cNvPr>
          <p:cNvSpPr txBox="1"/>
          <p:nvPr/>
        </p:nvSpPr>
        <p:spPr>
          <a:xfrm>
            <a:off x="4957245" y="528800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㉓</a:t>
            </a:r>
            <a:endParaRPr lang="en-US" altLang="ja-JP" sz="1600" b="1" dirty="0">
              <a:solidFill>
                <a:schemeClr val="bg1"/>
              </a:solidFill>
              <a:latin typeface="メイリオ"/>
              <a:ea typeface="メイリオ"/>
            </a:endParaRPr>
          </a:p>
        </p:txBody>
      </p:sp>
      <p:sp>
        <p:nvSpPr>
          <p:cNvPr id="52" name="楕円 51">
            <a:extLst>
              <a:ext uri="{FF2B5EF4-FFF2-40B4-BE49-F238E27FC236}">
                <a16:creationId xmlns:a16="http://schemas.microsoft.com/office/drawing/2014/main" id="{26DA617D-D20C-B051-F2A9-B9A04AAEA063}"/>
              </a:ext>
            </a:extLst>
          </p:cNvPr>
          <p:cNvSpPr/>
          <p:nvPr/>
        </p:nvSpPr>
        <p:spPr>
          <a:xfrm>
            <a:off x="6698570" y="305024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1A85065D-762F-B5FF-88A7-7BF3216798D1}"/>
              </a:ext>
            </a:extLst>
          </p:cNvPr>
          <p:cNvSpPr txBox="1"/>
          <p:nvPr/>
        </p:nvSpPr>
        <p:spPr>
          <a:xfrm>
            <a:off x="6591203" y="299695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㉔</a:t>
            </a:r>
            <a:endParaRPr lang="en-US" altLang="ja-JP" sz="1600" b="1" dirty="0">
              <a:solidFill>
                <a:schemeClr val="bg1"/>
              </a:solidFill>
              <a:latin typeface="メイリオ"/>
              <a:ea typeface="メイリオ"/>
            </a:endParaRPr>
          </a:p>
        </p:txBody>
      </p:sp>
    </p:spTree>
    <p:extLst>
      <p:ext uri="{BB962C8B-B14F-4D97-AF65-F5344CB8AC3E}">
        <p14:creationId xmlns:p14="http://schemas.microsoft.com/office/powerpoint/2010/main" val="670423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35DD579C-76E2-1D54-09A7-FEB2478444A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5776"/>
            <a:ext cx="1637054" cy="3401434"/>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4"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89"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483769" y="209284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72922" y="209515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40374" y="2126759"/>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420597" y="1973849"/>
            <a:ext cx="251737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アクセスキーを持っている方は上を、持っていない方は下を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22062"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88946"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メイリオ" panose="020B0604030504040204" pitchFamily="50" charset="-128"/>
                <a:ea typeface="メイリオ" panose="020B0604030504040204" pitchFamily="50"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25745" y="286905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879218" y="3054051"/>
            <a:ext cx="1637054" cy="14428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5059254" y="4311339"/>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80" name="矢印: 右 79">
            <a:extLst>
              <a:ext uri="{FF2B5EF4-FFF2-40B4-BE49-F238E27FC236}">
                <a16:creationId xmlns:a16="http://schemas.microsoft.com/office/drawing/2014/main" id="{F2963EEA-2454-549A-2A68-579F4C289D0D}"/>
              </a:ext>
            </a:extLst>
          </p:cNvPr>
          <p:cNvSpPr/>
          <p:nvPr/>
        </p:nvSpPr>
        <p:spPr>
          <a:xfrm rot="16200000">
            <a:off x="5308616" y="451150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1" name="フリーフォーム 92">
            <a:extLst>
              <a:ext uri="{FF2B5EF4-FFF2-40B4-BE49-F238E27FC236}">
                <a16:creationId xmlns:a16="http://schemas.microsoft.com/office/drawing/2014/main" id="{17DBAC32-BBAF-9F4D-5169-250695D526DC}"/>
              </a:ext>
            </a:extLst>
          </p:cNvPr>
          <p:cNvSpPr/>
          <p:nvPr/>
        </p:nvSpPr>
        <p:spPr>
          <a:xfrm>
            <a:off x="6612975" y="286835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C3B99C2F-E111-4A65-B70C-32AF2AFB74C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利用登録する場合・ユーザ</a:t>
            </a:r>
            <a:r>
              <a:rPr lang="en-US" altLang="ja-JP" sz="1600" b="1" i="0" dirty="0">
                <a:effectLst/>
                <a:latin typeface="Meiryo" panose="020B0604030504040204" pitchFamily="50" charset="-128"/>
                <a:ea typeface="Meiryo" panose="020B0604030504040204" pitchFamily="50" charset="-128"/>
              </a:rPr>
              <a:t>ID</a:t>
            </a:r>
            <a:r>
              <a:rPr lang="ja-JP" altLang="en-US" sz="1600" b="1" i="0" dirty="0">
                <a:effectLst/>
                <a:latin typeface="Meiryo" panose="020B0604030504040204" pitchFamily="50" charset="-128"/>
                <a:ea typeface="Meiryo" panose="020B0604030504040204" pitchFamily="50" charset="-128"/>
              </a:rPr>
              <a:t>の取得）</a:t>
            </a:r>
          </a:p>
        </p:txBody>
      </p:sp>
    </p:spTree>
    <p:extLst>
      <p:ext uri="{BB962C8B-B14F-4D97-AF65-F5344CB8AC3E}">
        <p14:creationId xmlns:p14="http://schemas.microsoft.com/office/powerpoint/2010/main" val="1809520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テキスト ボックス 27">
            <a:extLst>
              <a:ext uri="{FF2B5EF4-FFF2-40B4-BE49-F238E27FC236}">
                <a16:creationId xmlns:a16="http://schemas.microsoft.com/office/drawing/2014/main" id="{33B71E47-8FDD-A6E5-1B48-8AA246C8E3CC}"/>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23528" y="193038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14322" y="1982378"/>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804249" y="196906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89626" y="4119423"/>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4871"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092280" y="5656275"/>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34329"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424529" y="1969852"/>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52775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4" y="519018"/>
            <a:ext cx="6925448" cy="4188839"/>
          </a:xfrm>
          <a:prstGeom prst="rect">
            <a:avLst/>
          </a:prstGeom>
          <a:noFill/>
        </p:spPr>
        <p:txBody>
          <a:bodyPr wrap="square" rtlCol="0">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err="1">
                <a:solidFill>
                  <a:srgbClr val="009650"/>
                </a:solidFill>
                <a:latin typeface="Meiryo" charset="-128"/>
                <a:ea typeface="Meiryo" charset="-128"/>
                <a:cs typeface="Meiryo" charset="-128"/>
              </a:rPr>
              <a:t>ねんきん</a:t>
            </a:r>
            <a:r>
              <a:rPr lang="ja-JP" altLang="en-US" sz="2000" b="1" dirty="0">
                <a:solidFill>
                  <a:srgbClr val="009650"/>
                </a:solidFill>
                <a:latin typeface="Meiryo" charset="-128"/>
                <a:ea typeface="Meiryo" charset="-128"/>
                <a:cs typeface="Meiryo" charset="-128"/>
              </a:rPr>
              <a:t>ネット」について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とは？・・・・・・・・・・・・・</a:t>
            </a:r>
            <a:r>
              <a:rPr lang="en-US" altLang="ja-JP" b="1" dirty="0">
                <a:latin typeface="Meiryo" charset="-128"/>
                <a:ea typeface="Meiryo" charset="-128"/>
                <a:cs typeface="Meiryo" charset="-128"/>
              </a:rPr>
              <a:t>P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a:t>
            </a:r>
            <a:r>
              <a:rPr lang="ja-JP" altLang="en-US" b="1" dirty="0" err="1">
                <a:latin typeface="Meiryo" charset="-128"/>
                <a:ea typeface="Meiryo" charset="-128"/>
                <a:cs typeface="Meiryo" charset="-128"/>
              </a:rPr>
              <a:t>ねんきん</a:t>
            </a:r>
            <a:r>
              <a:rPr lang="ja-JP" altLang="en-US" b="1" dirty="0">
                <a:latin typeface="Meiryo" charset="-128"/>
                <a:ea typeface="Meiryo" charset="-128"/>
                <a:cs typeface="Meiryo" charset="-128"/>
              </a:rPr>
              <a:t>ネット」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ねんきんネット」の登録をしよう</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の登録方法・・・・・・・・・・・</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a:t>
            </a:r>
            <a:r>
              <a:rPr lang="ja-JP" altLang="en-US" b="1" dirty="0">
                <a:latin typeface="メイリオ" panose="020B0604030504040204" pitchFamily="50" charset="-128"/>
                <a:ea typeface="メイリオ" panose="020B0604030504040204" pitchFamily="50" charset="-128"/>
                <a:cs typeface="Meiryo" charset="-128"/>
              </a:rPr>
              <a:t>ねんきんネット」のログイン方法</a:t>
            </a:r>
            <a:r>
              <a:rPr lang="ja-JP" altLang="en-US" b="1" dirty="0">
                <a:latin typeface="Meiryo" charset="-128"/>
                <a:ea typeface="Meiryo" charset="-128"/>
                <a:cs typeface="Meiryo" charset="-128"/>
              </a:rPr>
              <a:t>・・・・・・・・</a:t>
            </a:r>
            <a:r>
              <a:rPr lang="en-US" altLang="ja-JP" b="1" dirty="0">
                <a:latin typeface="Meiryo" charset="-128"/>
                <a:ea typeface="Meiryo" charset="-128"/>
                <a:cs typeface="Meiryo" charset="-128"/>
              </a:rPr>
              <a:t>P27</a:t>
            </a:r>
          </a:p>
          <a:p>
            <a:pPr algn="dist">
              <a:lnSpc>
                <a:spcPct val="110000"/>
              </a:lnSpc>
            </a:pPr>
            <a:endParaRPr lang="ja-JP" altLang="en-US"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ねんきんネット」を活用してみよう</a:t>
            </a:r>
            <a:r>
              <a:rPr lang="en-US" altLang="ja-JP" b="1" dirty="0">
                <a:latin typeface="Meiryo" charset="-128"/>
                <a:ea typeface="Meiryo" charset="-128"/>
                <a:cs typeface="Meiryo" charset="-128"/>
              </a:rPr>
              <a:t>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こんな時に「ねんきんネット」・・・・・・・・・・・</a:t>
            </a:r>
            <a:r>
              <a:rPr lang="en-US" altLang="ja-JP" b="1" dirty="0">
                <a:latin typeface="Meiryo" charset="-128"/>
                <a:ea typeface="Meiryo" charset="-128"/>
                <a:cs typeface="Meiryo" charset="-128"/>
              </a:rPr>
              <a:t>P31</a:t>
            </a: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37</a:t>
            </a:r>
          </a:p>
          <a:p>
            <a:pPr algn="dist">
              <a:lnSpc>
                <a:spcPct val="110000"/>
              </a:lnSpc>
            </a:pPr>
            <a:r>
              <a:rPr lang="en-US" altLang="ja-JP" b="1" dirty="0">
                <a:latin typeface="Meiryo" charset="-128"/>
                <a:ea typeface="Meiryo" charset="-128"/>
                <a:cs typeface="Meiryo" charset="-128"/>
              </a:rPr>
              <a:t> C.</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38</a:t>
            </a:r>
          </a:p>
          <a:p>
            <a:pPr algn="dist">
              <a:lnSpc>
                <a:spcPct val="110000"/>
              </a:lnSpc>
            </a:pPr>
            <a:endParaRPr lang="en-US" altLang="ja-JP" b="1" dirty="0">
              <a:latin typeface="Meiryo" charset="-128"/>
              <a:ea typeface="Meiryo" charset="-128"/>
              <a:cs typeface="Meiryo" charset="-128"/>
            </a:endParaRPr>
          </a:p>
        </p:txBody>
      </p:sp>
      <p:cxnSp>
        <p:nvCxnSpPr>
          <p:cNvPr id="3" name="直線コネクタ 2">
            <a:extLst>
              <a:ext uri="{FF2B5EF4-FFF2-40B4-BE49-F238E27FC236}">
                <a16:creationId xmlns:a16="http://schemas.microsoft.com/office/drawing/2014/main" id="{7707807F-25D3-F993-4679-4391A84FF364}"/>
              </a:ext>
            </a:extLst>
          </p:cNvPr>
          <p:cNvCxnSpPr/>
          <p:nvPr/>
        </p:nvCxnSpPr>
        <p:spPr>
          <a:xfrm>
            <a:off x="1691680" y="16288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81DFA39-F3D2-42F8-691A-A7545BE96AA4}"/>
              </a:ext>
            </a:extLst>
          </p:cNvPr>
          <p:cNvCxnSpPr/>
          <p:nvPr/>
        </p:nvCxnSpPr>
        <p:spPr>
          <a:xfrm>
            <a:off x="1691680"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DC6D7D85-14CC-45CF-88CE-368D1EB78026}"/>
              </a:ext>
            </a:extLst>
          </p:cNvPr>
          <p:cNvPicPr>
            <a:picLocks noChangeAspect="1"/>
          </p:cNvPicPr>
          <p:nvPr/>
        </p:nvPicPr>
        <p:blipFill>
          <a:blip r:embed="rId3"/>
          <a:stretch>
            <a:fillRect/>
          </a:stretch>
        </p:blipFill>
        <p:spPr>
          <a:xfrm>
            <a:off x="3036388" y="4483168"/>
            <a:ext cx="4392488" cy="1775135"/>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0EC70BCF-74A9-467F-9FAF-5F14D88016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80"/>
            <a:ext cx="1639767" cy="3407071"/>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AE4543FC-C51B-B1B7-BB3D-A0EBA3A3D0A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93209" y="2886574"/>
            <a:ext cx="1637052" cy="3401429"/>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99B03048-332A-BC5C-92A3-6E35B33D9BD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65250"/>
            <a:ext cx="1635702" cy="3398624"/>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BC7BD38-8842-3114-ECF8-53596CBBC8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797" y="2884864"/>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45050" y="2102682"/>
            <a:ext cx="2121798" cy="707886"/>
          </a:xfrm>
          <a:prstGeom prst="rect">
            <a:avLst/>
          </a:prstGeom>
          <a:noFill/>
        </p:spPr>
        <p:txBody>
          <a:bodyPr wrap="square" rtlCol="0">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ご自身のアクセスキーを入力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708028" y="2116017"/>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751584" y="195142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0F450A9D-0834-E979-7E16-6EA66A89304F}"/>
              </a:ext>
            </a:extLst>
          </p:cNvPr>
          <p:cNvSpPr/>
          <p:nvPr/>
        </p:nvSpPr>
        <p:spPr>
          <a:xfrm>
            <a:off x="532986" y="3785964"/>
            <a:ext cx="1646513" cy="10899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69692" y="2996952"/>
            <a:ext cx="1635993" cy="23042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08908" y="3145731"/>
            <a:ext cx="1635702" cy="17958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8864" y="2136990"/>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3042034"/>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フリーフォーム 83">
            <a:extLst>
              <a:ext uri="{FF2B5EF4-FFF2-40B4-BE49-F238E27FC236}">
                <a16:creationId xmlns:a16="http://schemas.microsoft.com/office/drawing/2014/main" id="{F761888D-ACC9-C7FC-A5CC-C37B2C77208D}"/>
              </a:ext>
            </a:extLst>
          </p:cNvPr>
          <p:cNvSpPr/>
          <p:nvPr/>
        </p:nvSpPr>
        <p:spPr>
          <a:xfrm>
            <a:off x="315655" y="3639461"/>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68E03BC8-3E14-E2D6-A629-737FB4A9B212}"/>
              </a:ext>
            </a:extLst>
          </p:cNvPr>
          <p:cNvGrpSpPr/>
          <p:nvPr/>
        </p:nvGrpSpPr>
        <p:grpSpPr>
          <a:xfrm>
            <a:off x="2378864" y="3042034"/>
            <a:ext cx="296586" cy="293005"/>
            <a:chOff x="6801905" y="3995693"/>
            <a:chExt cx="296586" cy="293005"/>
          </a:xfrm>
        </p:grpSpPr>
        <p:sp>
          <p:nvSpPr>
            <p:cNvPr id="4" name="円/楕円 21">
              <a:extLst>
                <a:ext uri="{FF2B5EF4-FFF2-40B4-BE49-F238E27FC236}">
                  <a16:creationId xmlns:a16="http://schemas.microsoft.com/office/drawing/2014/main" id="{6A358EB0-805D-35F8-83CC-6BC0FB6620A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22">
              <a:extLst>
                <a:ext uri="{FF2B5EF4-FFF2-40B4-BE49-F238E27FC236}">
                  <a16:creationId xmlns:a16="http://schemas.microsoft.com/office/drawing/2014/main" id="{E76FF8B3-7FAD-00A8-8D34-D349C3DB5FF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テキスト ボックス 9">
            <a:extLst>
              <a:ext uri="{FF2B5EF4-FFF2-40B4-BE49-F238E27FC236}">
                <a16:creationId xmlns:a16="http://schemas.microsoft.com/office/drawing/2014/main" id="{54CF0E34-C351-C058-313B-F20C5B9C4323}"/>
              </a:ext>
            </a:extLst>
          </p:cNvPr>
          <p:cNvSpPr txBox="1"/>
          <p:nvPr/>
        </p:nvSpPr>
        <p:spPr>
          <a:xfrm>
            <a:off x="4376057" y="2920882"/>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12" name="テキスト ボックス 11">
            <a:extLst>
              <a:ext uri="{FF2B5EF4-FFF2-40B4-BE49-F238E27FC236}">
                <a16:creationId xmlns:a16="http://schemas.microsoft.com/office/drawing/2014/main" id="{C4D57B3E-187C-B970-0C37-0719DC1DAF4F}"/>
              </a:ext>
            </a:extLst>
          </p:cNvPr>
          <p:cNvSpPr txBox="1"/>
          <p:nvPr/>
        </p:nvSpPr>
        <p:spPr>
          <a:xfrm>
            <a:off x="6469496" y="292088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4" name="テキスト ボックス 23">
            <a:extLst>
              <a:ext uri="{FF2B5EF4-FFF2-40B4-BE49-F238E27FC236}">
                <a16:creationId xmlns:a16="http://schemas.microsoft.com/office/drawing/2014/main" id="{0C6A36A9-F8F5-493C-BC2E-2912EEBDB9C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3647900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6A131FB9-06C8-FA4C-CCEF-25E68EE97E1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2760"/>
            <a:ext cx="1635702" cy="3398624"/>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1A1A25D-9952-25A4-23E6-DD9CD5C35E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549" y="2886574"/>
            <a:ext cx="1635702" cy="3398624"/>
          </a:xfrm>
          <a:prstGeom prst="rect">
            <a:avLst/>
          </a:prstGeom>
          <a:ln>
            <a:solidFill>
              <a:schemeClr val="tx1"/>
            </a:solidFill>
          </a:ln>
        </p:spPr>
      </p:pic>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04C1CA43-7B4F-275B-2FC1-A36764B46F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60"/>
            <a:ext cx="1635702" cy="3398624"/>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CD984AD5-D191-6968-CDB7-5861407B2E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5280"/>
            <a:ext cx="1639767" cy="340707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08872" y="20993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7296" y="214042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メールアドレ</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192160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お知らせメー</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配信希望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75730"/>
            <a:ext cx="1646513" cy="20090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13125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924944"/>
            <a:ext cx="1635702" cy="20597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93780" y="1970837"/>
            <a:ext cx="2236345" cy="954107"/>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秘密の質問」を選択し、「秘密の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315884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1A2C5B3-3CF6-747B-5E13-C5C58AF2286F}"/>
              </a:ext>
            </a:extLst>
          </p:cNvPr>
          <p:cNvSpPr txBox="1"/>
          <p:nvPr/>
        </p:nvSpPr>
        <p:spPr>
          <a:xfrm>
            <a:off x="203283" y="2562786"/>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18DEF012-954F-0CA7-5BA8-29316B635143}"/>
              </a:ext>
            </a:extLst>
          </p:cNvPr>
          <p:cNvSpPr txBox="1"/>
          <p:nvPr/>
        </p:nvSpPr>
        <p:spPr>
          <a:xfrm>
            <a:off x="2208877" y="2687309"/>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540BCDE3-12D3-B4F3-42F4-60F12A1E3901}"/>
              </a:ext>
            </a:extLst>
          </p:cNvPr>
          <p:cNvSpPr txBox="1"/>
          <p:nvPr/>
        </p:nvSpPr>
        <p:spPr>
          <a:xfrm>
            <a:off x="4358452" y="2848310"/>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DC3FADCE-8C56-7D1A-E610-F790E2CD5F84}"/>
              </a:ext>
            </a:extLst>
          </p:cNvPr>
          <p:cNvSpPr txBox="1"/>
          <p:nvPr/>
        </p:nvSpPr>
        <p:spPr>
          <a:xfrm>
            <a:off x="6431598" y="2791584"/>
            <a:ext cx="77782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endParaRPr lang="ja-JP" altLang="en-US" sz="2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900DEDE7-C05F-46B6-9CE1-E070A8BBC0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2531954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792AA33-8CB3-F962-CA87-4F3995C4C4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20274" y="2872760"/>
            <a:ext cx="1635702" cy="3398624"/>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9D27A3DE-55BC-50DC-7F5B-A559FCEB937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7574" y="2874999"/>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テキスト ボックス 7">
            <a:extLst>
              <a:ext uri="{FF2B5EF4-FFF2-40B4-BE49-F238E27FC236}">
                <a16:creationId xmlns:a16="http://schemas.microsoft.com/office/drawing/2014/main" id="{32587DE9-F670-6535-6CE1-C40502C65D4F}"/>
              </a:ext>
            </a:extLst>
          </p:cNvPr>
          <p:cNvSpPr txBox="1"/>
          <p:nvPr/>
        </p:nvSpPr>
        <p:spPr>
          <a:xfrm>
            <a:off x="553079" y="2167113"/>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する</a:t>
            </a:r>
            <a:endParaRPr lang="en-US" altLang="ja-JP" sz="1600" b="1" dirty="0">
              <a:latin typeface="メイリオ" panose="020B0604030504040204" pitchFamily="50" charset="-128"/>
              <a:ea typeface="メイリオ" panose="020B0604030504040204" pitchFamily="50" charset="-128"/>
            </a:endParaRPr>
          </a:p>
        </p:txBody>
      </p:sp>
      <p:sp>
        <p:nvSpPr>
          <p:cNvPr id="12" name="四角形: 角を丸くする 11">
            <a:extLst>
              <a:ext uri="{FF2B5EF4-FFF2-40B4-BE49-F238E27FC236}">
                <a16:creationId xmlns:a16="http://schemas.microsoft.com/office/drawing/2014/main" id="{FB22C9DB-FE9D-DCAB-C7DD-02AD7836860F}"/>
              </a:ext>
            </a:extLst>
          </p:cNvPr>
          <p:cNvSpPr/>
          <p:nvPr/>
        </p:nvSpPr>
        <p:spPr>
          <a:xfrm>
            <a:off x="533277" y="4221088"/>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8D2F7AB3-006F-1039-63F5-392A05F5D955}"/>
              </a:ext>
            </a:extLst>
          </p:cNvPr>
          <p:cNvSpPr/>
          <p:nvPr/>
        </p:nvSpPr>
        <p:spPr>
          <a:xfrm>
            <a:off x="2965901" y="5373216"/>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0C2CFB1-B8C7-EEAC-8BCB-A6036653AF7D}"/>
              </a:ext>
            </a:extLst>
          </p:cNvPr>
          <p:cNvSpPr txBox="1"/>
          <p:nvPr/>
        </p:nvSpPr>
        <p:spPr>
          <a:xfrm>
            <a:off x="2236814" y="1973862"/>
            <a:ext cx="2602622" cy="954107"/>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内容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20" name="矢印: 右 19">
            <a:extLst>
              <a:ext uri="{FF2B5EF4-FFF2-40B4-BE49-F238E27FC236}">
                <a16:creationId xmlns:a16="http://schemas.microsoft.com/office/drawing/2014/main" id="{BF2FB9F7-5B4A-ABC9-E799-C094AE9FDD38}"/>
              </a:ext>
            </a:extLst>
          </p:cNvPr>
          <p:cNvSpPr/>
          <p:nvPr/>
        </p:nvSpPr>
        <p:spPr>
          <a:xfrm>
            <a:off x="5436096"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A51F8104-F018-B71F-ADC0-95A50FF4931B}"/>
              </a:ext>
            </a:extLst>
          </p:cNvPr>
          <p:cNvSpPr txBox="1"/>
          <p:nvPr/>
        </p:nvSpPr>
        <p:spPr>
          <a:xfrm>
            <a:off x="4714038" y="2420888"/>
            <a:ext cx="4106434" cy="1200329"/>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確認用メールが登録した</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メールアドレス宛に送付されますので、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確認してログインしてください</a:t>
            </a:r>
            <a:endParaRPr lang="en-US" altLang="ja-JP" b="1"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A4EDF19E-75A0-7AF8-5F00-803F82E6B129}"/>
              </a:ext>
            </a:extLst>
          </p:cNvPr>
          <p:cNvSpPr txBox="1"/>
          <p:nvPr/>
        </p:nvSpPr>
        <p:spPr>
          <a:xfrm>
            <a:off x="208415" y="2501357"/>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F83A6C31-7976-3C37-45DC-F50F874AA0A7}"/>
              </a:ext>
            </a:extLst>
          </p:cNvPr>
          <p:cNvSpPr txBox="1"/>
          <p:nvPr/>
        </p:nvSpPr>
        <p:spPr>
          <a:xfrm>
            <a:off x="2321472" y="2734718"/>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C656DC24-9DF8-480A-81A5-9C7FC69559B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41777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31632" y="199455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66768" y="21176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778583" y="209316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94389" y="4132491"/>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8626"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156146" y="5706222"/>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29566"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396978" y="203174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テキスト ボックス 26">
            <a:extLst>
              <a:ext uri="{FF2B5EF4-FFF2-40B4-BE49-F238E27FC236}">
                <a16:creationId xmlns:a16="http://schemas.microsoft.com/office/drawing/2014/main" id="{B20745AF-A9A8-49B2-8BA4-479F70E4FB57}"/>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2476064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ダイアグラム が含まれている画像&#10;&#10;自動的に生成された説明">
            <a:extLst>
              <a:ext uri="{FF2B5EF4-FFF2-40B4-BE49-F238E27FC236}">
                <a16:creationId xmlns:a16="http://schemas.microsoft.com/office/drawing/2014/main" id="{1329D849-DB54-87F2-CFD6-798BD2378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79"/>
            <a:ext cx="1631894" cy="3390713"/>
          </a:xfrm>
          <a:prstGeom prst="rect">
            <a:avLst/>
          </a:prstGeom>
          <a:ln>
            <a:solidFill>
              <a:schemeClr val="tx1"/>
            </a:solidFill>
          </a:ln>
        </p:spPr>
      </p:pic>
      <p:pic>
        <p:nvPicPr>
          <p:cNvPr id="20" name="図 19" descr="グラフィカル ユーザー インターフェイス, テキスト, アプリケーション, メール&#10;&#10;自動的に生成された説明">
            <a:extLst>
              <a:ext uri="{FF2B5EF4-FFF2-40B4-BE49-F238E27FC236}">
                <a16:creationId xmlns:a16="http://schemas.microsoft.com/office/drawing/2014/main" id="{0E50B670-52AB-4124-C4F7-DFEC7D2A64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9357" y="2884862"/>
            <a:ext cx="1631894" cy="3390713"/>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28E2717-6A85-077F-0D81-AF35CCCC27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3295"/>
            <a:ext cx="1635702" cy="3398625"/>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28030BB6-918B-1E4C-1CE4-AC903B3D14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728" y="2884863"/>
            <a:ext cx="1635154" cy="3397487"/>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35060" y="212521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572713" y="2171171"/>
            <a:ext cx="20745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804249" y="193651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79218" y="2970768"/>
            <a:ext cx="1635993" cy="23566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21331" y="2980331"/>
            <a:ext cx="1635702" cy="185837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6139" y="2142928"/>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2960516"/>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716FA99A-CA5B-2BF2-D274-306045B9F25D}"/>
              </a:ext>
            </a:extLst>
          </p:cNvPr>
          <p:cNvSpPr txBox="1"/>
          <p:nvPr/>
        </p:nvSpPr>
        <p:spPr>
          <a:xfrm>
            <a:off x="4365373" y="2661079"/>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5" name="テキスト ボックス 4">
            <a:extLst>
              <a:ext uri="{FF2B5EF4-FFF2-40B4-BE49-F238E27FC236}">
                <a16:creationId xmlns:a16="http://schemas.microsoft.com/office/drawing/2014/main" id="{D7D92350-8F9A-C8C7-08BA-C68CDED554E6}"/>
              </a:ext>
            </a:extLst>
          </p:cNvPr>
          <p:cNvSpPr txBox="1"/>
          <p:nvPr/>
        </p:nvSpPr>
        <p:spPr>
          <a:xfrm>
            <a:off x="6470521" y="2875279"/>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7" name="テキスト ボックス 6">
            <a:extLst>
              <a:ext uri="{FF2B5EF4-FFF2-40B4-BE49-F238E27FC236}">
                <a16:creationId xmlns:a16="http://schemas.microsoft.com/office/drawing/2014/main" id="{8F9223F6-DED4-9CF8-111C-15CF73083A37}"/>
              </a:ext>
            </a:extLst>
          </p:cNvPr>
          <p:cNvSpPr txBox="1"/>
          <p:nvPr/>
        </p:nvSpPr>
        <p:spPr>
          <a:xfrm>
            <a:off x="1366305" y="5013827"/>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❺</a:t>
            </a:r>
            <a:endParaRPr lang="ja-JP" altLang="en-US" dirty="0"/>
          </a:p>
        </p:txBody>
      </p:sp>
      <p:sp>
        <p:nvSpPr>
          <p:cNvPr id="8" name="テキスト ボックス 7">
            <a:extLst>
              <a:ext uri="{FF2B5EF4-FFF2-40B4-BE49-F238E27FC236}">
                <a16:creationId xmlns:a16="http://schemas.microsoft.com/office/drawing/2014/main" id="{CCC338CF-357E-C018-18DB-0D4FD7CC0938}"/>
              </a:ext>
            </a:extLst>
          </p:cNvPr>
          <p:cNvSpPr txBox="1"/>
          <p:nvPr/>
        </p:nvSpPr>
        <p:spPr>
          <a:xfrm>
            <a:off x="2248500" y="3136889"/>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dirty="0"/>
          </a:p>
        </p:txBody>
      </p:sp>
      <p:sp>
        <p:nvSpPr>
          <p:cNvPr id="9" name="矢印: 下 8">
            <a:extLst>
              <a:ext uri="{FF2B5EF4-FFF2-40B4-BE49-F238E27FC236}">
                <a16:creationId xmlns:a16="http://schemas.microsoft.com/office/drawing/2014/main" id="{20A241C4-6DA7-831E-ECDB-866CBEA5EADE}"/>
              </a:ext>
            </a:extLst>
          </p:cNvPr>
          <p:cNvSpPr/>
          <p:nvPr/>
        </p:nvSpPr>
        <p:spPr>
          <a:xfrm flipV="1">
            <a:off x="1122085" y="4149080"/>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6B3D5E3B-4A02-48A3-84F4-2B26B48BEF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3166072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FBF581F2-D370-7DE7-63BF-33776C47CE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90718" y="2875279"/>
            <a:ext cx="1635702" cy="3398625"/>
          </a:xfrm>
          <a:prstGeom prst="rect">
            <a:avLst/>
          </a:prstGeom>
          <a:ln>
            <a:solidFill>
              <a:schemeClr val="tx1"/>
            </a:solidFill>
          </a:ln>
        </p:spPr>
      </p:pic>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6F3EA3B6-929A-F614-69D1-7227988473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258" y="2875279"/>
            <a:ext cx="1635702" cy="3398625"/>
          </a:xfrm>
          <a:prstGeom prst="rect">
            <a:avLst/>
          </a:prstGeom>
          <a:ln>
            <a:solidFill>
              <a:schemeClr val="tx1"/>
            </a:solidFill>
          </a:ln>
        </p:spPr>
      </p:pic>
      <p:pic>
        <p:nvPicPr>
          <p:cNvPr id="9" name="図 8" descr="グラフィカル ユーザー インターフェイス, テキスト, アプリケーション, メール&#10;&#10;自動的に生成された説明">
            <a:extLst>
              <a:ext uri="{FF2B5EF4-FFF2-40B4-BE49-F238E27FC236}">
                <a16:creationId xmlns:a16="http://schemas.microsoft.com/office/drawing/2014/main" id="{2E10114B-6BC2-0F1C-0A1C-C2E63563375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58"/>
            <a:ext cx="1635702" cy="3398625"/>
          </a:xfrm>
          <a:prstGeom prst="rect">
            <a:avLst/>
          </a:prstGeom>
          <a:ln>
            <a:solidFill>
              <a:schemeClr val="tx1"/>
            </a:solidFill>
          </a:ln>
        </p:spPr>
      </p:pic>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9DFA7DC1-041B-7A1B-3D36-8308D557165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2759"/>
            <a:ext cx="1639767" cy="340707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69630" y="2104304"/>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郵便番号と住所</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しま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444041" y="1943056"/>
            <a:ext cx="218979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秘密の質問」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秘密の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77355" y="1962366"/>
            <a:ext cx="1997015"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メールアドレス</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34454"/>
            <a:ext cx="1646513" cy="18626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232061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886574"/>
            <a:ext cx="1635702" cy="21266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70478" y="2145070"/>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207872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F1B64B4-4967-DEF1-03BE-30B3108F1E50}"/>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2" name="テキスト ボックス 1">
            <a:extLst>
              <a:ext uri="{FF2B5EF4-FFF2-40B4-BE49-F238E27FC236}">
                <a16:creationId xmlns:a16="http://schemas.microsoft.com/office/drawing/2014/main" id="{06F1ED50-3259-58E9-5316-4507E23181EB}"/>
              </a:ext>
            </a:extLst>
          </p:cNvPr>
          <p:cNvSpPr txBox="1"/>
          <p:nvPr/>
        </p:nvSpPr>
        <p:spPr>
          <a:xfrm>
            <a:off x="4385007" y="306672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⓫</a:t>
            </a:r>
            <a:endParaRPr lang="ja-JP" altLang="en-US" sz="2800" dirty="0"/>
          </a:p>
        </p:txBody>
      </p:sp>
      <p:sp>
        <p:nvSpPr>
          <p:cNvPr id="3" name="テキスト ボックス 2">
            <a:extLst>
              <a:ext uri="{FF2B5EF4-FFF2-40B4-BE49-F238E27FC236}">
                <a16:creationId xmlns:a16="http://schemas.microsoft.com/office/drawing/2014/main" id="{77730009-D2DE-67A4-87E9-A7BDD6E6E627}"/>
              </a:ext>
            </a:extLst>
          </p:cNvPr>
          <p:cNvSpPr txBox="1"/>
          <p:nvPr/>
        </p:nvSpPr>
        <p:spPr>
          <a:xfrm>
            <a:off x="2207030" y="304153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➓</a:t>
            </a:r>
            <a:endParaRPr lang="ja-JP" altLang="en-US" sz="2800" dirty="0"/>
          </a:p>
        </p:txBody>
      </p:sp>
      <p:sp>
        <p:nvSpPr>
          <p:cNvPr id="4" name="テキスト ボックス 3">
            <a:extLst>
              <a:ext uri="{FF2B5EF4-FFF2-40B4-BE49-F238E27FC236}">
                <a16:creationId xmlns:a16="http://schemas.microsoft.com/office/drawing/2014/main" id="{AAB2717F-049A-17F9-5552-DB798DE9FC35}"/>
              </a:ext>
            </a:extLst>
          </p:cNvPr>
          <p:cNvSpPr txBox="1"/>
          <p:nvPr/>
        </p:nvSpPr>
        <p:spPr>
          <a:xfrm>
            <a:off x="6463417" y="25435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⓬</a:t>
            </a:r>
            <a:endParaRPr lang="ja-JP" altLang="en-US" sz="2800" dirty="0"/>
          </a:p>
        </p:txBody>
      </p:sp>
      <p:sp>
        <p:nvSpPr>
          <p:cNvPr id="21" name="テキスト ボックス 20">
            <a:extLst>
              <a:ext uri="{FF2B5EF4-FFF2-40B4-BE49-F238E27FC236}">
                <a16:creationId xmlns:a16="http://schemas.microsoft.com/office/drawing/2014/main" id="{2AD4C37B-5677-44A2-99A8-4BD4A5CA73D0}"/>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074172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799540BC-8904-E297-E342-E308FFDDD5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8379" y="2872757"/>
            <a:ext cx="1634985" cy="3397135"/>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0920" y="1960413"/>
            <a:ext cx="2215329"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メール配信設定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入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875280"/>
            <a:ext cx="1646513" cy="242592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376649" y="1981858"/>
            <a:ext cx="282523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内容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86E4D35C-1921-A3E7-E818-B91A8A22E6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2999" y="2875280"/>
            <a:ext cx="1634985" cy="3397135"/>
          </a:xfrm>
          <a:prstGeom prst="rect">
            <a:avLst/>
          </a:prstGeom>
          <a:ln>
            <a:solidFill>
              <a:schemeClr val="tx1"/>
            </a:solidFill>
          </a:ln>
        </p:spPr>
      </p:pic>
      <p:sp>
        <p:nvSpPr>
          <p:cNvPr id="5" name="四角形: 角を丸くする 4">
            <a:extLst>
              <a:ext uri="{FF2B5EF4-FFF2-40B4-BE49-F238E27FC236}">
                <a16:creationId xmlns:a16="http://schemas.microsoft.com/office/drawing/2014/main" id="{0C271CE0-93B1-B19F-F65A-67224754671D}"/>
              </a:ext>
            </a:extLst>
          </p:cNvPr>
          <p:cNvSpPr/>
          <p:nvPr/>
        </p:nvSpPr>
        <p:spPr>
          <a:xfrm>
            <a:off x="3036682" y="5301208"/>
            <a:ext cx="1152128"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FDB94ABC-CAAF-4D4F-8B2F-93065200A53B}"/>
              </a:ext>
            </a:extLst>
          </p:cNvPr>
          <p:cNvGrpSpPr/>
          <p:nvPr/>
        </p:nvGrpSpPr>
        <p:grpSpPr>
          <a:xfrm>
            <a:off x="4853969" y="2734718"/>
            <a:ext cx="3684534" cy="1965594"/>
            <a:chOff x="4853969" y="2734718"/>
            <a:chExt cx="3684534" cy="1965594"/>
          </a:xfrm>
        </p:grpSpPr>
        <p:sp>
          <p:nvSpPr>
            <p:cNvPr id="7" name="矢印: 右 6">
              <a:extLst>
                <a:ext uri="{FF2B5EF4-FFF2-40B4-BE49-F238E27FC236}">
                  <a16:creationId xmlns:a16="http://schemas.microsoft.com/office/drawing/2014/main" id="{B477A41B-B2AD-6AEE-67F2-22A343231A84}"/>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D0EA3256-F9E6-9D81-8DF2-B3917E6A065B}"/>
                </a:ext>
              </a:extLst>
            </p:cNvPr>
            <p:cNvSpPr txBox="1"/>
            <p:nvPr/>
          </p:nvSpPr>
          <p:spPr>
            <a:xfrm>
              <a:off x="4853969" y="2734718"/>
              <a:ext cx="3684534" cy="923330"/>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後日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が郵送されま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その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使ってログインしてください</a:t>
              </a:r>
              <a:endParaRPr lang="en-US" altLang="ja-JP" b="1" dirty="0">
                <a:latin typeface="メイリオ" panose="020B0604030504040204" pitchFamily="50" charset="-128"/>
                <a:ea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EAC42274-8D14-AE9C-EFE6-1EC95E6FC63C}"/>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⓭</a:t>
            </a:r>
            <a:endParaRPr lang="ja-JP" altLang="en-US" sz="2800" dirty="0"/>
          </a:p>
        </p:txBody>
      </p:sp>
      <p:sp>
        <p:nvSpPr>
          <p:cNvPr id="17" name="テキスト ボックス 16">
            <a:extLst>
              <a:ext uri="{FF2B5EF4-FFF2-40B4-BE49-F238E27FC236}">
                <a16:creationId xmlns:a16="http://schemas.microsoft.com/office/drawing/2014/main" id="{4C46FDF0-56BB-D467-5CFA-495089E6A8BE}"/>
              </a:ext>
            </a:extLst>
          </p:cNvPr>
          <p:cNvSpPr txBox="1"/>
          <p:nvPr/>
        </p:nvSpPr>
        <p:spPr>
          <a:xfrm>
            <a:off x="2659965" y="49220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⓮</a:t>
            </a:r>
            <a:endParaRPr lang="ja-JP" altLang="en-US" sz="2800" dirty="0"/>
          </a:p>
        </p:txBody>
      </p:sp>
      <p:sp>
        <p:nvSpPr>
          <p:cNvPr id="19" name="テキスト ボックス 18">
            <a:extLst>
              <a:ext uri="{FF2B5EF4-FFF2-40B4-BE49-F238E27FC236}">
                <a16:creationId xmlns:a16="http://schemas.microsoft.com/office/drawing/2014/main" id="{06D1C119-95F8-4CF0-A96C-6F94300C8E18}"/>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pic>
        <p:nvPicPr>
          <p:cNvPr id="20" name="図 19" descr="郵便ポストの前にいるマイナちゃんのイラスト">
            <a:extLst>
              <a:ext uri="{FF2B5EF4-FFF2-40B4-BE49-F238E27FC236}">
                <a16:creationId xmlns:a16="http://schemas.microsoft.com/office/drawing/2014/main" id="{23CB86DD-57C5-4390-98A8-64BFD1AFC4C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987255" y="4842305"/>
            <a:ext cx="1425400" cy="1360700"/>
          </a:xfrm>
          <a:prstGeom prst="rect">
            <a:avLst/>
          </a:prstGeom>
        </p:spPr>
      </p:pic>
    </p:spTree>
    <p:extLst>
      <p:ext uri="{BB962C8B-B14F-4D97-AF65-F5344CB8AC3E}">
        <p14:creationId xmlns:p14="http://schemas.microsoft.com/office/powerpoint/2010/main" val="3981482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1DA442B9-02E4-DE1B-DC67-F072877F0FA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7211" y="2894960"/>
            <a:ext cx="1638000" cy="3403399"/>
          </a:xfrm>
          <a:prstGeom prst="rect">
            <a:avLst/>
          </a:prstGeom>
          <a:ln>
            <a:solidFill>
              <a:schemeClr val="tx1"/>
            </a:solidFill>
          </a:ln>
        </p:spPr>
      </p:pic>
      <p:pic>
        <p:nvPicPr>
          <p:cNvPr id="36" name="図 35" descr="グラフィカル ユーザー インターフェイス, テキスト&#10;&#10;自動的に生成された説明">
            <a:extLst>
              <a:ext uri="{FF2B5EF4-FFF2-40B4-BE49-F238E27FC236}">
                <a16:creationId xmlns:a16="http://schemas.microsoft.com/office/drawing/2014/main" id="{F38ACDAC-103B-1485-8560-4D9C8461FA5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5" y="2886576"/>
            <a:ext cx="1637051" cy="3401428"/>
          </a:xfrm>
          <a:prstGeom prst="rect">
            <a:avLst/>
          </a:prstGeom>
          <a:ln>
            <a:solidFill>
              <a:schemeClr val="tx1"/>
            </a:solidFill>
          </a:ln>
        </p:spPr>
      </p:pic>
      <p:pic>
        <p:nvPicPr>
          <p:cNvPr id="38" name="図 37"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62291BCE-3252-E50A-61D9-22F235F841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30" name="図 29" descr="グラフィカル ユーザー インターフェイス&#10;&#10;自動的に生成された説明">
            <a:extLst>
              <a:ext uri="{FF2B5EF4-FFF2-40B4-BE49-F238E27FC236}">
                <a16:creationId xmlns:a16="http://schemas.microsoft.com/office/drawing/2014/main" id="{DC83B119-C063-FFD2-829A-504EBBB547E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10" name="テキスト ボックス 9">
            <a:extLst>
              <a:ext uri="{FF2B5EF4-FFF2-40B4-BE49-F238E27FC236}">
                <a16:creationId xmlns:a16="http://schemas.microsoft.com/office/drawing/2014/main" id="{34ED257E-1F51-BA58-4963-FC4C41B53F5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
        <p:nvSpPr>
          <p:cNvPr id="11" name="テキスト ボックス 10">
            <a:extLst>
              <a:ext uri="{FF2B5EF4-FFF2-40B4-BE49-F238E27FC236}">
                <a16:creationId xmlns:a16="http://schemas.microsoft.com/office/drawing/2014/main" id="{0BB8B848-BB3C-73C8-71CD-ADBF25616F03}"/>
              </a:ext>
            </a:extLst>
          </p:cNvPr>
          <p:cNvSpPr txBox="1"/>
          <p:nvPr/>
        </p:nvSpPr>
        <p:spPr>
          <a:xfrm>
            <a:off x="384933" y="2018301"/>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CD5E2433-29AC-EF9C-812B-2A5840D14EF1}"/>
              </a:ext>
            </a:extLst>
          </p:cNvPr>
          <p:cNvSpPr txBox="1"/>
          <p:nvPr/>
        </p:nvSpPr>
        <p:spPr>
          <a:xfrm>
            <a:off x="4427611" y="1899096"/>
            <a:ext cx="223224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マイナポータルから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081DE7C7-4710-B998-DCCD-A228575D6564}"/>
              </a:ext>
            </a:extLst>
          </p:cNvPr>
          <p:cNvSpPr txBox="1"/>
          <p:nvPr/>
        </p:nvSpPr>
        <p:spPr>
          <a:xfrm>
            <a:off x="6659860" y="193977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ポータ</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の画面で「ロ</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グイン」を押す</a:t>
            </a:r>
          </a:p>
        </p:txBody>
      </p:sp>
      <p:sp>
        <p:nvSpPr>
          <p:cNvPr id="14" name="四角形: 角を丸くする 13">
            <a:extLst>
              <a:ext uri="{FF2B5EF4-FFF2-40B4-BE49-F238E27FC236}">
                <a16:creationId xmlns:a16="http://schemas.microsoft.com/office/drawing/2014/main" id="{E78D80AD-9049-9FD5-51A4-2044D434DA81}"/>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E15AD4AB-BA78-A04D-F8A6-5406E0963EB5}"/>
              </a:ext>
            </a:extLst>
          </p:cNvPr>
          <p:cNvGrpSpPr/>
          <p:nvPr/>
        </p:nvGrpSpPr>
        <p:grpSpPr>
          <a:xfrm>
            <a:off x="1204575" y="4216115"/>
            <a:ext cx="296587" cy="293005"/>
            <a:chOff x="2897417" y="3995693"/>
            <a:chExt cx="296587" cy="293005"/>
          </a:xfrm>
        </p:grpSpPr>
        <p:sp>
          <p:nvSpPr>
            <p:cNvPr id="16" name="円/楕円 70">
              <a:extLst>
                <a:ext uri="{FF2B5EF4-FFF2-40B4-BE49-F238E27FC236}">
                  <a16:creationId xmlns:a16="http://schemas.microsoft.com/office/drawing/2014/main" id="{6C28C16C-6EF2-83F5-F63A-B964AD805F0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19C2E7F6-CB4A-813E-D35E-C92A2E7154B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8531C6B7-8ACA-B1DD-0A7B-99D37ED78A84}"/>
              </a:ext>
            </a:extLst>
          </p:cNvPr>
          <p:cNvGrpSpPr/>
          <p:nvPr/>
        </p:nvGrpSpPr>
        <p:grpSpPr>
          <a:xfrm>
            <a:off x="2566180" y="2893882"/>
            <a:ext cx="296586" cy="293005"/>
            <a:chOff x="3546641" y="3995693"/>
            <a:chExt cx="296586" cy="293005"/>
          </a:xfrm>
        </p:grpSpPr>
        <p:sp>
          <p:nvSpPr>
            <p:cNvPr id="19" name="円/楕円 65">
              <a:extLst>
                <a:ext uri="{FF2B5EF4-FFF2-40B4-BE49-F238E27FC236}">
                  <a16:creationId xmlns:a16="http://schemas.microsoft.com/office/drawing/2014/main" id="{EB1529FB-7E28-FF86-57AB-94360701772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81DF90DD-4968-5252-578B-36040EF8895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四角形: 角を丸くする 21">
            <a:extLst>
              <a:ext uri="{FF2B5EF4-FFF2-40B4-BE49-F238E27FC236}">
                <a16:creationId xmlns:a16="http://schemas.microsoft.com/office/drawing/2014/main" id="{4EB13039-BA21-D47F-48A2-20F06FC8107C}"/>
              </a:ext>
            </a:extLst>
          </p:cNvPr>
          <p:cNvSpPr/>
          <p:nvPr/>
        </p:nvSpPr>
        <p:spPr>
          <a:xfrm>
            <a:off x="6909561" y="5577048"/>
            <a:ext cx="1334847" cy="2209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フリーフォーム 92">
            <a:extLst>
              <a:ext uri="{FF2B5EF4-FFF2-40B4-BE49-F238E27FC236}">
                <a16:creationId xmlns:a16="http://schemas.microsoft.com/office/drawing/2014/main" id="{296B42D2-DEFB-70FC-0F5D-DF17C656EAD9}"/>
              </a:ext>
            </a:extLst>
          </p:cNvPr>
          <p:cNvSpPr/>
          <p:nvPr/>
        </p:nvSpPr>
        <p:spPr>
          <a:xfrm>
            <a:off x="8194155" y="520029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9692E657-105A-793B-AE6B-892747218345}"/>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テキスト ボックス 24">
            <a:extLst>
              <a:ext uri="{FF2B5EF4-FFF2-40B4-BE49-F238E27FC236}">
                <a16:creationId xmlns:a16="http://schemas.microsoft.com/office/drawing/2014/main" id="{10157998-1CAA-8418-E71B-06AF027C6CD5}"/>
              </a:ext>
            </a:extLst>
          </p:cNvPr>
          <p:cNvSpPr txBox="1"/>
          <p:nvPr/>
        </p:nvSpPr>
        <p:spPr>
          <a:xfrm>
            <a:off x="2443615" y="20142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6" name="図形グループ 69">
            <a:extLst>
              <a:ext uri="{FF2B5EF4-FFF2-40B4-BE49-F238E27FC236}">
                <a16:creationId xmlns:a16="http://schemas.microsoft.com/office/drawing/2014/main" id="{1B747ADA-B67F-371A-BC64-063FF17BFA99}"/>
              </a:ext>
            </a:extLst>
          </p:cNvPr>
          <p:cNvGrpSpPr/>
          <p:nvPr/>
        </p:nvGrpSpPr>
        <p:grpSpPr>
          <a:xfrm>
            <a:off x="4900969" y="4955369"/>
            <a:ext cx="296586" cy="293005"/>
            <a:chOff x="4232441" y="3995693"/>
            <a:chExt cx="296586" cy="293005"/>
          </a:xfrm>
        </p:grpSpPr>
        <p:sp>
          <p:nvSpPr>
            <p:cNvPr id="27" name="円/楕円 70">
              <a:extLst>
                <a:ext uri="{FF2B5EF4-FFF2-40B4-BE49-F238E27FC236}">
                  <a16:creationId xmlns:a16="http://schemas.microsoft.com/office/drawing/2014/main" id="{06FDC80A-4F9B-2AAC-EF93-2FDC9EFF940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71">
              <a:extLst>
                <a:ext uri="{FF2B5EF4-FFF2-40B4-BE49-F238E27FC236}">
                  <a16:creationId xmlns:a16="http://schemas.microsoft.com/office/drawing/2014/main" id="{FC29025A-6C9A-5905-63AA-A15CE1456EF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四角形: 角を丸くする 38">
            <a:extLst>
              <a:ext uri="{FF2B5EF4-FFF2-40B4-BE49-F238E27FC236}">
                <a16:creationId xmlns:a16="http://schemas.microsoft.com/office/drawing/2014/main" id="{0FDC2A41-3B6B-4CE1-8F63-C8ADD1025373}"/>
              </a:ext>
            </a:extLst>
          </p:cNvPr>
          <p:cNvSpPr/>
          <p:nvPr/>
        </p:nvSpPr>
        <p:spPr>
          <a:xfrm>
            <a:off x="5097524" y="5248374"/>
            <a:ext cx="986644" cy="1968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22922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22" name="グループ化 21">
            <a:extLst>
              <a:ext uri="{FF2B5EF4-FFF2-40B4-BE49-F238E27FC236}">
                <a16:creationId xmlns:a16="http://schemas.microsoft.com/office/drawing/2014/main" id="{DB4DDB4D-3A06-45C0-80CB-784F76C7C8C4}"/>
              </a:ext>
            </a:extLst>
          </p:cNvPr>
          <p:cNvGrpSpPr/>
          <p:nvPr/>
        </p:nvGrpSpPr>
        <p:grpSpPr>
          <a:xfrm>
            <a:off x="711203" y="2887150"/>
            <a:ext cx="3541468" cy="1929828"/>
            <a:chOff x="5043669" y="2770484"/>
            <a:chExt cx="3541468" cy="1929828"/>
          </a:xfrm>
        </p:grpSpPr>
        <p:sp>
          <p:nvSpPr>
            <p:cNvPr id="23" name="矢印: 右 22">
              <a:extLst>
                <a:ext uri="{FF2B5EF4-FFF2-40B4-BE49-F238E27FC236}">
                  <a16:creationId xmlns:a16="http://schemas.microsoft.com/office/drawing/2014/main" id="{AD07E43F-2A0E-4517-A54C-54A5AB984330}"/>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2B9BF3E2-98BA-4DB4-8A75-08E000A0A141}"/>
                </a:ext>
              </a:extLst>
            </p:cNvPr>
            <p:cNvSpPr txBox="1"/>
            <p:nvPr/>
          </p:nvSpPr>
          <p:spPr>
            <a:xfrm>
              <a:off x="5043669" y="2770484"/>
              <a:ext cx="3541468" cy="646331"/>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13P</a:t>
              </a:r>
              <a:r>
                <a:rPr lang="ja-JP" altLang="en-US" b="1" dirty="0">
                  <a:solidFill>
                    <a:srgbClr val="00B050"/>
                  </a:solidFill>
                  <a:latin typeface="メイリオ" panose="020B0604030504040204" pitchFamily="50" charset="-128"/>
                  <a:ea typeface="メイリオ" panose="020B0604030504040204" pitchFamily="50" charset="-128"/>
                </a:rPr>
                <a:t>❻</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14P</a:t>
              </a:r>
              <a:r>
                <a:rPr lang="ja-JP" altLang="en-US" b="1" dirty="0">
                  <a:solidFill>
                    <a:srgbClr val="009650"/>
                  </a:solidFill>
                  <a:latin typeface="メイリオ" panose="020B0604030504040204" pitchFamily="50" charset="-128"/>
                  <a:ea typeface="メイリオ" panose="020B0604030504040204" pitchFamily="50" charset="-128"/>
                </a:rPr>
                <a:t>⓬</a:t>
              </a:r>
              <a:r>
                <a:rPr lang="ja-JP" altLang="en-US" b="1" dirty="0">
                  <a:latin typeface="メイリオ" panose="020B0604030504040204" pitchFamily="50" charset="-128"/>
                  <a:ea typeface="メイリオ" panose="020B0604030504040204" pitchFamily="50" charset="-128"/>
                </a:rPr>
                <a:t>の手順と同様に操作します</a:t>
              </a:r>
              <a:endParaRPr lang="ja-JP" altLang="en-US" dirty="0"/>
            </a:p>
          </p:txBody>
        </p:sp>
      </p:grpSp>
      <p:grpSp>
        <p:nvGrpSpPr>
          <p:cNvPr id="26" name="グループ化 25">
            <a:extLst>
              <a:ext uri="{FF2B5EF4-FFF2-40B4-BE49-F238E27FC236}">
                <a16:creationId xmlns:a16="http://schemas.microsoft.com/office/drawing/2014/main" id="{FBA3794D-8A36-410C-B932-51DC86F31DC6}"/>
              </a:ext>
            </a:extLst>
          </p:cNvPr>
          <p:cNvGrpSpPr/>
          <p:nvPr/>
        </p:nvGrpSpPr>
        <p:grpSpPr>
          <a:xfrm>
            <a:off x="4344846" y="1932836"/>
            <a:ext cx="2353010" cy="4326712"/>
            <a:chOff x="6592272" y="1856215"/>
            <a:chExt cx="2353010" cy="4326712"/>
          </a:xfrm>
        </p:grpSpPr>
        <p:sp>
          <p:nvSpPr>
            <p:cNvPr id="27" name="テキスト ボックス 26">
              <a:extLst>
                <a:ext uri="{FF2B5EF4-FFF2-40B4-BE49-F238E27FC236}">
                  <a16:creationId xmlns:a16="http://schemas.microsoft.com/office/drawing/2014/main" id="{765612BC-F053-4ACB-900B-FC57146FC2E1}"/>
                </a:ext>
              </a:extLst>
            </p:cNvPr>
            <p:cNvSpPr txBox="1"/>
            <p:nvPr/>
          </p:nvSpPr>
          <p:spPr>
            <a:xfrm>
              <a:off x="6592272" y="1856215"/>
              <a:ext cx="235301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B050"/>
                  </a:solidFill>
                  <a:latin typeface="メイリオ"/>
                  <a:ea typeface="メイリオ"/>
                </a:rPr>
                <a:t>➎</a:t>
              </a:r>
              <a:r>
                <a:rPr lang="ja-JP" altLang="en-US" sz="1600" b="1" dirty="0">
                  <a:latin typeface="メイリオ"/>
                  <a:ea typeface="メイリオ"/>
                </a:rPr>
                <a:t>つながっているウェブサイトから「ねんきんネット」を押す</a:t>
              </a:r>
              <a:endParaRPr lang="en-US" altLang="ja-JP" sz="1600" b="1" dirty="0">
                <a:latin typeface="メイリオ"/>
                <a:ea typeface="メイリオ"/>
              </a:endParaRPr>
            </a:p>
          </p:txBody>
        </p:sp>
        <p:pic>
          <p:nvPicPr>
            <p:cNvPr id="28" name="図 27" descr="テキスト が含まれている画像&#10;&#10;自動的に生成された説明">
              <a:extLst>
                <a:ext uri="{FF2B5EF4-FFF2-40B4-BE49-F238E27FC236}">
                  <a16:creationId xmlns:a16="http://schemas.microsoft.com/office/drawing/2014/main" id="{C10DFCDB-4605-494F-80A9-504B0E5DE7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B9BD7219-64DA-44C4-B3FF-C671191A0ED2}"/>
                </a:ext>
              </a:extLst>
            </p:cNvPr>
            <p:cNvSpPr/>
            <p:nvPr/>
          </p:nvSpPr>
          <p:spPr>
            <a:xfrm>
              <a:off x="6980505"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1" name="フリーフォーム 83">
            <a:extLst>
              <a:ext uri="{FF2B5EF4-FFF2-40B4-BE49-F238E27FC236}">
                <a16:creationId xmlns:a16="http://schemas.microsoft.com/office/drawing/2014/main" id="{EB5A2EE8-6BCA-421A-964E-20A6A9A8C0F6}"/>
              </a:ext>
            </a:extLst>
          </p:cNvPr>
          <p:cNvSpPr/>
          <p:nvPr/>
        </p:nvSpPr>
        <p:spPr>
          <a:xfrm>
            <a:off x="4466958" y="408670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グループ化 35">
            <a:extLst>
              <a:ext uri="{FF2B5EF4-FFF2-40B4-BE49-F238E27FC236}">
                <a16:creationId xmlns:a16="http://schemas.microsoft.com/office/drawing/2014/main" id="{C1732788-1C38-4FEF-A53D-850CB67751CA}"/>
              </a:ext>
            </a:extLst>
          </p:cNvPr>
          <p:cNvGrpSpPr/>
          <p:nvPr/>
        </p:nvGrpSpPr>
        <p:grpSpPr>
          <a:xfrm>
            <a:off x="6494733" y="1958588"/>
            <a:ext cx="2479324" cy="4300960"/>
            <a:chOff x="5103161" y="1936352"/>
            <a:chExt cx="2479324" cy="4300960"/>
          </a:xfrm>
        </p:grpSpPr>
        <p:pic>
          <p:nvPicPr>
            <p:cNvPr id="38" name="図 37" descr="グラフィカル ユーザー インターフェイス, テキスト, アプリケーション&#10;&#10;自動的に生成された説明">
              <a:extLst>
                <a:ext uri="{FF2B5EF4-FFF2-40B4-BE49-F238E27FC236}">
                  <a16:creationId xmlns:a16="http://schemas.microsoft.com/office/drawing/2014/main" id="{2BD95F3D-0675-4530-B9FA-1ADDAA03A9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21359" y="2823671"/>
              <a:ext cx="1642929" cy="3413641"/>
            </a:xfrm>
            <a:prstGeom prst="rect">
              <a:avLst/>
            </a:prstGeom>
            <a:ln>
              <a:solidFill>
                <a:schemeClr val="tx1"/>
              </a:solidFill>
            </a:ln>
          </p:spPr>
        </p:pic>
        <p:sp>
          <p:nvSpPr>
            <p:cNvPr id="39" name="テキスト ボックス 38">
              <a:extLst>
                <a:ext uri="{FF2B5EF4-FFF2-40B4-BE49-F238E27FC236}">
                  <a16:creationId xmlns:a16="http://schemas.microsoft.com/office/drawing/2014/main" id="{B9842AE5-444D-4584-BAD1-2B9B6B78EA81}"/>
                </a:ext>
              </a:extLst>
            </p:cNvPr>
            <p:cNvSpPr txBox="1"/>
            <p:nvPr/>
          </p:nvSpPr>
          <p:spPr>
            <a:xfrm>
              <a:off x="5103161" y="1936352"/>
              <a:ext cx="2479324"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B050"/>
                  </a:solidFill>
                  <a:latin typeface="メイリオ"/>
                  <a:ea typeface="メイリオ"/>
                </a:rPr>
                <a:t>❻</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grpSp>
      <p:grpSp>
        <p:nvGrpSpPr>
          <p:cNvPr id="43" name="図形グループ 20">
            <a:extLst>
              <a:ext uri="{FF2B5EF4-FFF2-40B4-BE49-F238E27FC236}">
                <a16:creationId xmlns:a16="http://schemas.microsoft.com/office/drawing/2014/main" id="{8C5C9F63-127D-4E34-B057-7C78695ED0A8}"/>
              </a:ext>
            </a:extLst>
          </p:cNvPr>
          <p:cNvGrpSpPr/>
          <p:nvPr/>
        </p:nvGrpSpPr>
        <p:grpSpPr>
          <a:xfrm>
            <a:off x="6643090" y="2699404"/>
            <a:ext cx="296586" cy="293005"/>
            <a:chOff x="6801905" y="3995693"/>
            <a:chExt cx="296586" cy="293005"/>
          </a:xfrm>
        </p:grpSpPr>
        <p:sp>
          <p:nvSpPr>
            <p:cNvPr id="44" name="円/楕円 21">
              <a:extLst>
                <a:ext uri="{FF2B5EF4-FFF2-40B4-BE49-F238E27FC236}">
                  <a16:creationId xmlns:a16="http://schemas.microsoft.com/office/drawing/2014/main" id="{66265FE7-3F5B-478F-A1E6-A79A35009BDC}"/>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22">
              <a:extLst>
                <a:ext uri="{FF2B5EF4-FFF2-40B4-BE49-F238E27FC236}">
                  <a16:creationId xmlns:a16="http://schemas.microsoft.com/office/drawing/2014/main" id="{E22003B3-B6E4-4B1F-AC21-0F6045560F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872B7BCC-97C5-469E-9B42-F384249A5A3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1303836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メール&#10;&#10;自動的に生成された説明">
            <a:extLst>
              <a:ext uri="{FF2B5EF4-FFF2-40B4-BE49-F238E27FC236}">
                <a16:creationId xmlns:a16="http://schemas.microsoft.com/office/drawing/2014/main" id="{AC1D45AF-4839-4C37-3AEE-F5E01419A1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80974" y="2871621"/>
            <a:ext cx="1639719" cy="340697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9" name="図 8" descr="グラフィカル ユーザー インターフェイス, テキスト&#10;&#10;自動的に生成された説明">
            <a:extLst>
              <a:ext uri="{FF2B5EF4-FFF2-40B4-BE49-F238E27FC236}">
                <a16:creationId xmlns:a16="http://schemas.microsoft.com/office/drawing/2014/main" id="{A64BAAC5-A5F1-C957-0F65-A190A81553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21103" y="2874465"/>
            <a:ext cx="1637051" cy="3401428"/>
          </a:xfrm>
          <a:prstGeom prst="rect">
            <a:avLst/>
          </a:prstGeom>
          <a:ln>
            <a:solidFill>
              <a:schemeClr val="tx1"/>
            </a:solidFill>
          </a:ln>
        </p:spPr>
      </p:pic>
      <p:pic>
        <p:nvPicPr>
          <p:cNvPr id="10" name="図 9"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72B8062C-CC14-BEEF-C29D-8DC734CF3FB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11" name="図 10" descr="グラフィカル ユーザー インターフェイス&#10;&#10;自動的に生成された説明">
            <a:extLst>
              <a:ext uri="{FF2B5EF4-FFF2-40B4-BE49-F238E27FC236}">
                <a16:creationId xmlns:a16="http://schemas.microsoft.com/office/drawing/2014/main" id="{81C5F0F8-43DA-7374-AB01-4270984CD0C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2" name="テキスト ボックス 11">
            <a:extLst>
              <a:ext uri="{FF2B5EF4-FFF2-40B4-BE49-F238E27FC236}">
                <a16:creationId xmlns:a16="http://schemas.microsoft.com/office/drawing/2014/main" id="{1844D313-8BA6-8236-88EF-52C7567B1B87}"/>
              </a:ext>
            </a:extLst>
          </p:cNvPr>
          <p:cNvSpPr txBox="1"/>
          <p:nvPr/>
        </p:nvSpPr>
        <p:spPr>
          <a:xfrm>
            <a:off x="323528" y="21136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235A149D-C674-B98D-B423-BC043BAB8F86}"/>
              </a:ext>
            </a:extLst>
          </p:cNvPr>
          <p:cNvSpPr txBox="1"/>
          <p:nvPr/>
        </p:nvSpPr>
        <p:spPr>
          <a:xfrm>
            <a:off x="4657981" y="2144049"/>
            <a:ext cx="2040975"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B86E96CF-B780-42AB-77D8-4E54506D4814}"/>
              </a:ext>
            </a:extLst>
          </p:cNvPr>
          <p:cNvSpPr txBox="1"/>
          <p:nvPr/>
        </p:nvSpPr>
        <p:spPr>
          <a:xfrm>
            <a:off x="6651678" y="1971445"/>
            <a:ext cx="2405276"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ユーザ</a:t>
            </a: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パスワードを入力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0ADAD259-ECA7-23E6-7B7F-511F6A005C77}"/>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FF1AEB72-FDB0-91A7-BBE3-E546DE08325E}"/>
              </a:ext>
            </a:extLst>
          </p:cNvPr>
          <p:cNvGrpSpPr/>
          <p:nvPr/>
        </p:nvGrpSpPr>
        <p:grpSpPr>
          <a:xfrm>
            <a:off x="1204575" y="4216115"/>
            <a:ext cx="296587" cy="293005"/>
            <a:chOff x="2897417" y="3995693"/>
            <a:chExt cx="296587" cy="293005"/>
          </a:xfrm>
        </p:grpSpPr>
        <p:sp>
          <p:nvSpPr>
            <p:cNvPr id="17" name="円/楕円 70">
              <a:extLst>
                <a:ext uri="{FF2B5EF4-FFF2-40B4-BE49-F238E27FC236}">
                  <a16:creationId xmlns:a16="http://schemas.microsoft.com/office/drawing/2014/main" id="{3D107CD6-C237-698E-90F4-76679BCDCF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21E014A7-9AA2-CE72-A9B3-9E6679E91D2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56807FE7-E2C8-E842-CC19-998CCEAFEF3A}"/>
              </a:ext>
            </a:extLst>
          </p:cNvPr>
          <p:cNvGrpSpPr/>
          <p:nvPr/>
        </p:nvGrpSpPr>
        <p:grpSpPr>
          <a:xfrm>
            <a:off x="2566180" y="2893882"/>
            <a:ext cx="296586" cy="293005"/>
            <a:chOff x="3546641" y="3995693"/>
            <a:chExt cx="296586" cy="293005"/>
          </a:xfrm>
        </p:grpSpPr>
        <p:sp>
          <p:nvSpPr>
            <p:cNvPr id="21" name="円/楕円 65">
              <a:extLst>
                <a:ext uri="{FF2B5EF4-FFF2-40B4-BE49-F238E27FC236}">
                  <a16:creationId xmlns:a16="http://schemas.microsoft.com/office/drawing/2014/main" id="{1EE89148-00A6-907C-6156-3CF4BA1F182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68">
              <a:extLst>
                <a:ext uri="{FF2B5EF4-FFF2-40B4-BE49-F238E27FC236}">
                  <a16:creationId xmlns:a16="http://schemas.microsoft.com/office/drawing/2014/main" id="{6013C40E-F5D6-4F03-4264-EDA88B43986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3" name="四角形: 角を丸くする 22">
            <a:extLst>
              <a:ext uri="{FF2B5EF4-FFF2-40B4-BE49-F238E27FC236}">
                <a16:creationId xmlns:a16="http://schemas.microsoft.com/office/drawing/2014/main" id="{9C4D402A-D1AC-4E06-3BB7-16B6D1139418}"/>
              </a:ext>
            </a:extLst>
          </p:cNvPr>
          <p:cNvSpPr/>
          <p:nvPr/>
        </p:nvSpPr>
        <p:spPr>
          <a:xfrm>
            <a:off x="6886411" y="3189826"/>
            <a:ext cx="1634282" cy="1391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フリーフォーム 92">
            <a:extLst>
              <a:ext uri="{FF2B5EF4-FFF2-40B4-BE49-F238E27FC236}">
                <a16:creationId xmlns:a16="http://schemas.microsoft.com/office/drawing/2014/main" id="{8E24386C-B73F-770F-D039-8A2813CD4F48}"/>
              </a:ext>
            </a:extLst>
          </p:cNvPr>
          <p:cNvSpPr/>
          <p:nvPr/>
        </p:nvSpPr>
        <p:spPr>
          <a:xfrm>
            <a:off x="6651678" y="270394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67C276D4-DCD9-5140-7CAB-A62AC841AE20}"/>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F64A6E15-26E6-DD01-8ACA-53D991FCB9C3}"/>
              </a:ext>
            </a:extLst>
          </p:cNvPr>
          <p:cNvSpPr txBox="1"/>
          <p:nvPr/>
        </p:nvSpPr>
        <p:spPr>
          <a:xfrm>
            <a:off x="2411792" y="21247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7" name="図形グループ 69">
            <a:extLst>
              <a:ext uri="{FF2B5EF4-FFF2-40B4-BE49-F238E27FC236}">
                <a16:creationId xmlns:a16="http://schemas.microsoft.com/office/drawing/2014/main" id="{57227B5A-9980-BF17-CCB9-D66AD7D59798}"/>
              </a:ext>
            </a:extLst>
          </p:cNvPr>
          <p:cNvGrpSpPr/>
          <p:nvPr/>
        </p:nvGrpSpPr>
        <p:grpSpPr>
          <a:xfrm>
            <a:off x="5148064" y="4509120"/>
            <a:ext cx="296586" cy="293005"/>
            <a:chOff x="4232441" y="3995693"/>
            <a:chExt cx="296586" cy="293005"/>
          </a:xfrm>
        </p:grpSpPr>
        <p:sp>
          <p:nvSpPr>
            <p:cNvPr id="28" name="円/楕円 70">
              <a:extLst>
                <a:ext uri="{FF2B5EF4-FFF2-40B4-BE49-F238E27FC236}">
                  <a16:creationId xmlns:a16="http://schemas.microsoft.com/office/drawing/2014/main" id="{12FE80E3-C87F-46C1-F618-49CB4C331EB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71">
              <a:extLst>
                <a:ext uri="{FF2B5EF4-FFF2-40B4-BE49-F238E27FC236}">
                  <a16:creationId xmlns:a16="http://schemas.microsoft.com/office/drawing/2014/main" id="{23E20879-E6A4-CA91-A89A-F36E4554AED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矢印: 下 33">
            <a:extLst>
              <a:ext uri="{FF2B5EF4-FFF2-40B4-BE49-F238E27FC236}">
                <a16:creationId xmlns:a16="http://schemas.microsoft.com/office/drawing/2014/main" id="{94CE17EE-C2E6-A837-CC5B-7FA702C92780}"/>
              </a:ext>
            </a:extLst>
          </p:cNvPr>
          <p:cNvSpPr/>
          <p:nvPr/>
        </p:nvSpPr>
        <p:spPr>
          <a:xfrm flipV="1">
            <a:off x="5527528" y="4050281"/>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1BF186F6-D107-4307-A0B7-CDCD49101468}"/>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なし・「</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登録した場合）</a:t>
            </a:r>
          </a:p>
        </p:txBody>
      </p:sp>
    </p:spTree>
    <p:extLst>
      <p:ext uri="{BB962C8B-B14F-4D97-AF65-F5344CB8AC3E}">
        <p14:creationId xmlns:p14="http://schemas.microsoft.com/office/powerpoint/2010/main" val="527940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548680"/>
            <a:ext cx="705678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rPr>
              <a:t>「ねんきんネット」</a:t>
            </a:r>
            <a:endParaRPr lang="en-US" altLang="ja-JP" sz="4800" dirty="0">
              <a:solidFill>
                <a:srgbClr val="009650"/>
              </a:solidFill>
            </a:endParaRPr>
          </a:p>
          <a:p>
            <a:r>
              <a:rPr lang="ja-JP" altLang="en-US" sz="4400" dirty="0">
                <a:solidFill>
                  <a:srgbClr val="009650"/>
                </a:solidFill>
              </a:rPr>
              <a:t>　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42822" y="54868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ねんきんネット」を</a:t>
            </a:r>
            <a:endParaRPr lang="en-US" altLang="ja-JP" sz="4800" dirty="0">
              <a:solidFill>
                <a:srgbClr val="009650"/>
              </a:solidFill>
            </a:endParaRPr>
          </a:p>
          <a:p>
            <a:r>
              <a:rPr lang="ja-JP" altLang="en-US" sz="4800" dirty="0">
                <a:solidFill>
                  <a:srgbClr val="009650"/>
                </a:solidFill>
              </a:rPr>
              <a:t>　活用してみよう</a:t>
            </a:r>
            <a:endParaRPr lang="en-US" altLang="ja-JP" sz="4800" dirty="0">
              <a:solidFill>
                <a:srgbClr val="009650"/>
              </a:solidFill>
            </a:endParaRPr>
          </a:p>
        </p:txBody>
      </p:sp>
      <p:pic>
        <p:nvPicPr>
          <p:cNvPr id="4" name="図 3">
            <a:extLst>
              <a:ext uri="{FF2B5EF4-FFF2-40B4-BE49-F238E27FC236}">
                <a16:creationId xmlns:a16="http://schemas.microsoft.com/office/drawing/2014/main" id="{B134A400-C687-4C48-AB0C-D44A84700A3A}"/>
              </a:ext>
            </a:extLst>
          </p:cNvPr>
          <p:cNvPicPr>
            <a:picLocks noChangeAspect="1"/>
          </p:cNvPicPr>
          <p:nvPr/>
        </p:nvPicPr>
        <p:blipFill>
          <a:blip r:embed="rId3"/>
          <a:stretch>
            <a:fillRect/>
          </a:stretch>
        </p:blipFill>
        <p:spPr>
          <a:xfrm>
            <a:off x="6012160" y="4571294"/>
            <a:ext cx="1499047" cy="1738026"/>
          </a:xfrm>
          <a:prstGeom prst="rect">
            <a:avLst/>
          </a:prstGeom>
        </p:spPr>
      </p:pic>
      <p:pic>
        <p:nvPicPr>
          <p:cNvPr id="6" name="図 5">
            <a:extLst>
              <a:ext uri="{FF2B5EF4-FFF2-40B4-BE49-F238E27FC236}">
                <a16:creationId xmlns:a16="http://schemas.microsoft.com/office/drawing/2014/main" id="{F2E1D468-8A5F-4BF2-AAFF-888147364AB8}"/>
              </a:ext>
            </a:extLst>
          </p:cNvPr>
          <p:cNvPicPr>
            <a:picLocks noChangeAspect="1"/>
          </p:cNvPicPr>
          <p:nvPr/>
        </p:nvPicPr>
        <p:blipFill>
          <a:blip r:embed="rId4"/>
          <a:stretch>
            <a:fillRect/>
          </a:stretch>
        </p:blipFill>
        <p:spPr>
          <a:xfrm>
            <a:off x="7086495" y="4571294"/>
            <a:ext cx="1499047" cy="1795266"/>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自分の年金記録を確認したい！</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433054" y="1412776"/>
            <a:ext cx="7800001"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ここからは実際に「</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活用していきます。</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どんな場面で「</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使うと便利でしょうか。</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578218" y="2913990"/>
            <a:ext cx="7800001"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パソコンやスマートフォンから、</a:t>
            </a:r>
            <a:br>
              <a:rPr lang="en-US" altLang="ja-JP" sz="2000" b="1" dirty="0">
                <a:latin typeface="Meiryo" panose="020B0604030504040204" pitchFamily="50" charset="-128"/>
                <a:ea typeface="Meiryo" panose="020B0604030504040204" pitchFamily="50" charset="-128"/>
              </a:rPr>
            </a:br>
            <a:r>
              <a:rPr lang="en-US" altLang="ja-JP" sz="2000" b="1" i="0" dirty="0">
                <a:effectLst/>
                <a:latin typeface="Meiryo" panose="020B0604030504040204" pitchFamily="50" charset="-128"/>
                <a:ea typeface="Meiryo" panose="020B0604030504040204" pitchFamily="50" charset="-128"/>
              </a:rPr>
              <a:t>24</a:t>
            </a:r>
            <a:r>
              <a:rPr lang="ja-JP" altLang="en-US" sz="2000" b="1" i="0" dirty="0">
                <a:effectLst/>
                <a:latin typeface="Meiryo" panose="020B0604030504040204" pitchFamily="50" charset="-128"/>
                <a:ea typeface="Meiryo" panose="020B0604030504040204" pitchFamily="50" charset="-128"/>
              </a:rPr>
              <a:t>時間いつでも</a:t>
            </a:r>
            <a:r>
              <a:rPr lang="ja-JP" altLang="en-US" sz="2000" b="1" i="0" u="sng" dirty="0">
                <a:solidFill>
                  <a:srgbClr val="00B050"/>
                </a:solidFill>
                <a:effectLst/>
                <a:latin typeface="Meiryo" panose="020B0604030504040204" pitchFamily="50" charset="-128"/>
                <a:ea typeface="Meiryo" panose="020B0604030504040204" pitchFamily="50" charset="-128"/>
              </a:rPr>
              <a:t>最新の年金記録</a:t>
            </a:r>
            <a:r>
              <a:rPr lang="ja-JP" altLang="en-US" sz="2000" b="1" i="0" dirty="0">
                <a:effectLst/>
                <a:latin typeface="Meiryo" panose="020B0604030504040204" pitchFamily="50" charset="-128"/>
                <a:ea typeface="Meiryo" panose="020B0604030504040204" pitchFamily="50" charset="-128"/>
              </a:rPr>
              <a:t>を簡単に確認できます。</a:t>
            </a:r>
          </a:p>
        </p:txBody>
      </p:sp>
      <p:pic>
        <p:nvPicPr>
          <p:cNvPr id="4" name="図 3">
            <a:extLst>
              <a:ext uri="{FF2B5EF4-FFF2-40B4-BE49-F238E27FC236}">
                <a16:creationId xmlns:a16="http://schemas.microsoft.com/office/drawing/2014/main" id="{FC1E28A9-13B3-491A-BF5F-2C8D95891200}"/>
              </a:ext>
            </a:extLst>
          </p:cNvPr>
          <p:cNvPicPr>
            <a:picLocks noChangeAspect="1"/>
          </p:cNvPicPr>
          <p:nvPr/>
        </p:nvPicPr>
        <p:blipFill rotWithShape="1">
          <a:blip r:embed="rId3"/>
          <a:srcRect l="3444" t="2500" r="4249"/>
          <a:stretch/>
        </p:blipFill>
        <p:spPr>
          <a:xfrm>
            <a:off x="4096583" y="3874932"/>
            <a:ext cx="4636963" cy="2236380"/>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510127" y="3874932"/>
            <a:ext cx="4573016" cy="1654495"/>
            <a:chOff x="2730684" y="3753830"/>
            <a:chExt cx="4573016" cy="1693953"/>
          </a:xfrm>
        </p:grpSpPr>
        <p:sp>
          <p:nvSpPr>
            <p:cNvPr id="35" name="吹き出し: 円形 34">
              <a:extLst>
                <a:ext uri="{FF2B5EF4-FFF2-40B4-BE49-F238E27FC236}">
                  <a16:creationId xmlns:a16="http://schemas.microsoft.com/office/drawing/2014/main" id="{449D323E-4E30-44DE-A470-B33555510D68}"/>
                </a:ext>
              </a:extLst>
            </p:cNvPr>
            <p:cNvSpPr/>
            <p:nvPr/>
          </p:nvSpPr>
          <p:spPr>
            <a:xfrm>
              <a:off x="2730684" y="3753830"/>
              <a:ext cx="4573016" cy="1693953"/>
            </a:xfrm>
            <a:prstGeom prst="wedgeEllipseCallout">
              <a:avLst>
                <a:gd name="adj1" fmla="val 76857"/>
                <a:gd name="adj2" fmla="val 44904"/>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3048045" y="4123752"/>
              <a:ext cx="393829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sz="1400" b="1" dirty="0">
                <a:latin typeface="メイリオ" panose="020B0604030504040204" pitchFamily="50" charset="-128"/>
                <a:ea typeface="メイリオ" panose="020B0604030504040204" pitchFamily="50" charset="-128"/>
                <a:cs typeface="Arial" panose="020B0604020202020204" pitchFamily="34" charset="0"/>
              </a:endParaRPr>
            </a:p>
          </p:txBody>
        </p:sp>
      </p:grpSp>
      <p:sp>
        <p:nvSpPr>
          <p:cNvPr id="42" name="テキスト ボックス 41">
            <a:extLst>
              <a:ext uri="{FF2B5EF4-FFF2-40B4-BE49-F238E27FC236}">
                <a16:creationId xmlns:a16="http://schemas.microsoft.com/office/drawing/2014/main" id="{F3459348-D834-4142-A9AE-3E6214AF460B}"/>
              </a:ext>
            </a:extLst>
          </p:cNvPr>
          <p:cNvSpPr txBox="1"/>
          <p:nvPr/>
        </p:nvSpPr>
        <p:spPr>
          <a:xfrm>
            <a:off x="5728616" y="3881217"/>
            <a:ext cx="1925149"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年金記録の表示の一例</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pic>
        <p:nvPicPr>
          <p:cNvPr id="6" name="図 5">
            <a:extLst>
              <a:ext uri="{FF2B5EF4-FFF2-40B4-BE49-F238E27FC236}">
                <a16:creationId xmlns:a16="http://schemas.microsoft.com/office/drawing/2014/main" id="{CA61E160-BABF-4123-A96F-4B47FC98F47F}"/>
              </a:ext>
            </a:extLst>
          </p:cNvPr>
          <p:cNvPicPr>
            <a:picLocks noChangeAspect="1"/>
          </p:cNvPicPr>
          <p:nvPr/>
        </p:nvPicPr>
        <p:blipFill>
          <a:blip r:embed="rId4"/>
          <a:stretch>
            <a:fillRect/>
          </a:stretch>
        </p:blipFill>
        <p:spPr>
          <a:xfrm rot="2074041">
            <a:off x="7174155" y="1570681"/>
            <a:ext cx="683340" cy="899132"/>
          </a:xfrm>
          <a:prstGeom prst="rect">
            <a:avLst/>
          </a:prstGeom>
        </p:spPr>
      </p:pic>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204864"/>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187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6" y="2870165"/>
            <a:ext cx="1640676" cy="3408960"/>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14545E19-5E7A-5271-E75D-5748297E666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年金記録を見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483769" y="1895926"/>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年金記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573231" y="1870745"/>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一覧で年金</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録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717575" y="189592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年金記録が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示されれば完了</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609798" y="3554199"/>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507955" y="3211196"/>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72000" y="3429000"/>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フリーフォーム 92">
            <a:extLst>
              <a:ext uri="{FF2B5EF4-FFF2-40B4-BE49-F238E27FC236}">
                <a16:creationId xmlns:a16="http://schemas.microsoft.com/office/drawing/2014/main" id="{37A57A7D-6F86-7C31-E74B-02E1E11D8F43}"/>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8" name="四角形: 角を丸くする 37">
            <a:extLst>
              <a:ext uri="{FF2B5EF4-FFF2-40B4-BE49-F238E27FC236}">
                <a16:creationId xmlns:a16="http://schemas.microsoft.com/office/drawing/2014/main" id="{14C3C159-3B40-5D72-35E1-00CD91E3C659}"/>
              </a:ext>
            </a:extLst>
          </p:cNvPr>
          <p:cNvSpPr/>
          <p:nvPr/>
        </p:nvSpPr>
        <p:spPr>
          <a:xfrm>
            <a:off x="4787604" y="3729415"/>
            <a:ext cx="1624504" cy="4476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1CEC9167-47B9-1D3B-7710-257DD74C451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pic>
        <p:nvPicPr>
          <p:cNvPr id="40" name="図 39" descr="グラフィカル ユーザー インターフェイス, テキスト, アプリケーション&#10;&#10;自動的に生成された説明">
            <a:extLst>
              <a:ext uri="{FF2B5EF4-FFF2-40B4-BE49-F238E27FC236}">
                <a16:creationId xmlns:a16="http://schemas.microsoft.com/office/drawing/2014/main" id="{D1C04471-B91E-95EB-E959-AB701A4B637D}"/>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artisticGlass/>
                    </a14:imgEffect>
                  </a14:imgLayer>
                </a14:imgProps>
              </a:ext>
              <a:ext uri="{28A0092B-C50C-407E-A947-70E740481C1C}">
                <a14:useLocalDpi xmlns:a14="http://schemas.microsoft.com/office/drawing/2010/main"/>
              </a:ext>
            </a:extLst>
          </a:blip>
          <a:srcRect t="31180" b="-1"/>
          <a:stretch/>
        </p:blipFill>
        <p:spPr>
          <a:xfrm>
            <a:off x="6920659" y="3933057"/>
            <a:ext cx="1640676" cy="2346068"/>
          </a:xfrm>
          <a:prstGeom prst="rect">
            <a:avLst/>
          </a:prstGeom>
          <a:ln>
            <a:noFill/>
          </a:ln>
        </p:spPr>
      </p:pic>
    </p:spTree>
    <p:extLst>
      <p:ext uri="{BB962C8B-B14F-4D97-AF65-F5344CB8AC3E}">
        <p14:creationId xmlns:p14="http://schemas.microsoft.com/office/powerpoint/2010/main" val="3548848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568952" cy="954107"/>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❷年金振込通知書などの様々な通知を</a:t>
            </a:r>
            <a:endParaRPr lang="en-US" altLang="ja-JP" sz="2800" b="1" i="0" dirty="0">
              <a:solidFill>
                <a:srgbClr val="00B050"/>
              </a:solidFill>
              <a:effectLst/>
              <a:latin typeface="Meiryo" panose="020B0604030504040204" pitchFamily="50" charset="-128"/>
              <a:ea typeface="Meiryo" panose="020B0604030504040204" pitchFamily="50" charset="-128"/>
            </a:endParaRPr>
          </a:p>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　スマホやパソコンから確認し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58749" y="2273892"/>
            <a:ext cx="8374797" cy="1323439"/>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年金受給者の方を対象にしている「年金振込通知書」や、国民年金に加入している方を対象にしている「ねんきん定期便」などの</a:t>
            </a:r>
            <a:r>
              <a:rPr lang="ja-JP" altLang="en-US" sz="2000" b="1" i="0" u="sng" dirty="0">
                <a:solidFill>
                  <a:srgbClr val="00B050"/>
                </a:solidFill>
                <a:effectLst/>
                <a:latin typeface="Meiryo" panose="020B0604030504040204" pitchFamily="50" charset="-128"/>
                <a:ea typeface="Meiryo" panose="020B0604030504040204" pitchFamily="50" charset="-128"/>
              </a:rPr>
              <a:t>各種通知書をご自身のスマートフォンやパソコンで見ることができます</a:t>
            </a:r>
            <a:r>
              <a:rPr lang="ja-JP" altLang="en-US" sz="2000" b="1" i="0" dirty="0">
                <a:effectLst/>
                <a:latin typeface="Meiryo" panose="020B0604030504040204" pitchFamily="50" charset="-128"/>
                <a:ea typeface="Meiryo" panose="020B0604030504040204" pitchFamily="50" charset="-128"/>
              </a:rPr>
              <a:t>。</a:t>
            </a:r>
          </a:p>
        </p:txBody>
      </p:sp>
      <p:pic>
        <p:nvPicPr>
          <p:cNvPr id="3" name="図 2">
            <a:extLst>
              <a:ext uri="{FF2B5EF4-FFF2-40B4-BE49-F238E27FC236}">
                <a16:creationId xmlns:a16="http://schemas.microsoft.com/office/drawing/2014/main" id="{FF34F735-0A81-4605-9366-BAC2BF091626}"/>
              </a:ext>
            </a:extLst>
          </p:cNvPr>
          <p:cNvPicPr>
            <a:picLocks noChangeAspect="1"/>
          </p:cNvPicPr>
          <p:nvPr/>
        </p:nvPicPr>
        <p:blipFill rotWithShape="1">
          <a:blip r:embed="rId3"/>
          <a:srcRect b="62033"/>
          <a:stretch/>
        </p:blipFill>
        <p:spPr>
          <a:xfrm>
            <a:off x="341687" y="3872290"/>
            <a:ext cx="5454621" cy="2158109"/>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4914126" y="3429000"/>
            <a:ext cx="3906346" cy="1752980"/>
            <a:chOff x="1663139" y="3976894"/>
            <a:chExt cx="3906346" cy="1752980"/>
          </a:xfrm>
        </p:grpSpPr>
        <p:sp>
          <p:nvSpPr>
            <p:cNvPr id="35" name="吹き出し: 円形 34">
              <a:extLst>
                <a:ext uri="{FF2B5EF4-FFF2-40B4-BE49-F238E27FC236}">
                  <a16:creationId xmlns:a16="http://schemas.microsoft.com/office/drawing/2014/main" id="{449D323E-4E30-44DE-A470-B33555510D68}"/>
                </a:ext>
              </a:extLst>
            </p:cNvPr>
            <p:cNvSpPr/>
            <p:nvPr/>
          </p:nvSpPr>
          <p:spPr>
            <a:xfrm>
              <a:off x="1663139" y="3976894"/>
              <a:ext cx="3906346" cy="1752980"/>
            </a:xfrm>
            <a:prstGeom prst="wedgeEllipseCallout">
              <a:avLst>
                <a:gd name="adj1" fmla="val -46609"/>
                <a:gd name="adj2" fmla="val 7989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2131572" y="4420184"/>
              <a:ext cx="309634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確認した各種通知書は</a:t>
              </a:r>
              <a:r>
                <a:rPr lang="en-US" altLang="ja-JP" sz="1400" b="1" dirty="0">
                  <a:latin typeface="メイリオ" panose="020B0604030504040204" pitchFamily="50" charset="-128"/>
                  <a:ea typeface="メイリオ" panose="020B0604030504040204" pitchFamily="50" charset="-128"/>
                  <a:cs typeface="Arial" panose="020B0604020202020204" pitchFamily="34" charset="0"/>
                </a:rPr>
                <a:t>PDF</a:t>
              </a:r>
              <a:r>
                <a:rPr lang="ja-JP" altLang="en-US" sz="1400" b="1" dirty="0">
                  <a:latin typeface="メイリオ" panose="020B0604030504040204" pitchFamily="50" charset="-128"/>
                  <a:ea typeface="メイリオ" panose="020B0604030504040204" pitchFamily="50" charset="-128"/>
                  <a:cs typeface="Arial" panose="020B0604020202020204" pitchFamily="34" charset="0"/>
                </a:rPr>
                <a:t>ファイルにして保存、印刷が可能！</a:t>
              </a:r>
              <a:endParaRPr lang="en-US" altLang="ja-JP" sz="1400" b="1"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b="1" dirty="0">
                  <a:latin typeface="メイリオ" panose="020B0604030504040204" pitchFamily="50" charset="-128"/>
                  <a:ea typeface="メイリオ" panose="020B0604030504040204" pitchFamily="50" charset="-128"/>
                  <a:cs typeface="Arial" panose="020B0604020202020204" pitchFamily="34" charset="0"/>
                </a:rPr>
                <a:t>大切な通知をいつでも確認できて、紙で管理する必要もなくなる！</a:t>
              </a:r>
            </a:p>
          </p:txBody>
        </p:sp>
      </p:grpSp>
      <p:pic>
        <p:nvPicPr>
          <p:cNvPr id="10" name="図 9">
            <a:extLst>
              <a:ext uri="{FF2B5EF4-FFF2-40B4-BE49-F238E27FC236}">
                <a16:creationId xmlns:a16="http://schemas.microsoft.com/office/drawing/2014/main" id="{B44CF63F-2C42-478E-BD7E-3613A33FE075}"/>
              </a:ext>
            </a:extLst>
          </p:cNvPr>
          <p:cNvPicPr>
            <a:picLocks noChangeAspect="1"/>
          </p:cNvPicPr>
          <p:nvPr/>
        </p:nvPicPr>
        <p:blipFill rotWithShape="1">
          <a:blip r:embed="rId4"/>
          <a:srcRect l="46253" b="6263"/>
          <a:stretch/>
        </p:blipFill>
        <p:spPr>
          <a:xfrm>
            <a:off x="7110750" y="5101356"/>
            <a:ext cx="1368153" cy="1354126"/>
          </a:xfrm>
          <a:prstGeom prst="rect">
            <a:avLst/>
          </a:prstGeom>
        </p:spPr>
      </p:pic>
      <p:pic>
        <p:nvPicPr>
          <p:cNvPr id="13" name="図 12">
            <a:extLst>
              <a:ext uri="{FF2B5EF4-FFF2-40B4-BE49-F238E27FC236}">
                <a16:creationId xmlns:a16="http://schemas.microsoft.com/office/drawing/2014/main" id="{304C065C-7DAE-486B-8588-520C18253E39}"/>
              </a:ext>
            </a:extLst>
          </p:cNvPr>
          <p:cNvPicPr>
            <a:picLocks noChangeAspect="1"/>
          </p:cNvPicPr>
          <p:nvPr/>
        </p:nvPicPr>
        <p:blipFill>
          <a:blip r:embed="rId5"/>
          <a:stretch>
            <a:fillRect/>
          </a:stretch>
        </p:blipFill>
        <p:spPr>
          <a:xfrm>
            <a:off x="5966561" y="5445224"/>
            <a:ext cx="958176" cy="859963"/>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6" y="2870165"/>
            <a:ext cx="1640676" cy="3408960"/>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14545E19-5E7A-5271-E75D-5748297E666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各種の通知を確認し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314877" y="1895926"/>
            <a:ext cx="2058682" cy="707886"/>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通知書を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373559" y="1870745"/>
            <a:ext cx="2344016"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スクロールすると自分が現在確認できる通知が表示される</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607355" y="1895926"/>
            <a:ext cx="2267283"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確認したい通知の「ダウンロード」を押す</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594132" y="4457287"/>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387893" y="4310784"/>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1CEC9167-47B9-1D3B-7710-257DD74C451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pic>
        <p:nvPicPr>
          <p:cNvPr id="3" name="図 2">
            <a:extLst>
              <a:ext uri="{FF2B5EF4-FFF2-40B4-BE49-F238E27FC236}">
                <a16:creationId xmlns:a16="http://schemas.microsoft.com/office/drawing/2014/main" id="{80C6B9E2-64AD-4406-A691-99B4A250440E}"/>
              </a:ext>
            </a:extLst>
          </p:cNvPr>
          <p:cNvPicPr>
            <a:picLocks noChangeAspect="1"/>
          </p:cNvPicPr>
          <p:nvPr/>
        </p:nvPicPr>
        <p:blipFill rotWithShape="1">
          <a:blip r:embed="rId9"/>
          <a:srcRect t="6951" b="13251"/>
          <a:stretch/>
        </p:blipFill>
        <p:spPr>
          <a:xfrm>
            <a:off x="4809215" y="3428999"/>
            <a:ext cx="1581687" cy="2736306"/>
          </a:xfrm>
          <a:prstGeom prst="rect">
            <a:avLst/>
          </a:prstGeom>
        </p:spPr>
      </p:pic>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83017" y="4661298"/>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矢印: 右 30">
            <a:extLst>
              <a:ext uri="{FF2B5EF4-FFF2-40B4-BE49-F238E27FC236}">
                <a16:creationId xmlns:a16="http://schemas.microsoft.com/office/drawing/2014/main" id="{7FE7E599-D210-4F26-8F1A-2AFB31CCEB84}"/>
              </a:ext>
            </a:extLst>
          </p:cNvPr>
          <p:cNvSpPr/>
          <p:nvPr/>
        </p:nvSpPr>
        <p:spPr>
          <a:xfrm rot="16200000">
            <a:off x="5164168" y="4473283"/>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図 4">
            <a:extLst>
              <a:ext uri="{FF2B5EF4-FFF2-40B4-BE49-F238E27FC236}">
                <a16:creationId xmlns:a16="http://schemas.microsoft.com/office/drawing/2014/main" id="{26E643B8-F064-4797-866C-365BB5EABC88}"/>
              </a:ext>
            </a:extLst>
          </p:cNvPr>
          <p:cNvPicPr>
            <a:picLocks noChangeAspect="1"/>
          </p:cNvPicPr>
          <p:nvPr/>
        </p:nvPicPr>
        <p:blipFill rotWithShape="1">
          <a:blip r:embed="rId10"/>
          <a:srcRect t="18226" b="5901"/>
          <a:stretch/>
        </p:blipFill>
        <p:spPr>
          <a:xfrm>
            <a:off x="6933468" y="3428998"/>
            <a:ext cx="1609962" cy="2648199"/>
          </a:xfrm>
          <a:prstGeom prst="rect">
            <a:avLst/>
          </a:prstGeom>
        </p:spPr>
      </p:pic>
      <p:sp>
        <p:nvSpPr>
          <p:cNvPr id="28" name="フリーフォーム 92">
            <a:extLst>
              <a:ext uri="{FF2B5EF4-FFF2-40B4-BE49-F238E27FC236}">
                <a16:creationId xmlns:a16="http://schemas.microsoft.com/office/drawing/2014/main" id="{37A57A7D-6F86-7C31-E74B-02E1E11D8F43}"/>
              </a:ext>
            </a:extLst>
          </p:cNvPr>
          <p:cNvSpPr/>
          <p:nvPr/>
        </p:nvSpPr>
        <p:spPr>
          <a:xfrm>
            <a:off x="7270040" y="406998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四角形: 角を丸くする 34">
            <a:extLst>
              <a:ext uri="{FF2B5EF4-FFF2-40B4-BE49-F238E27FC236}">
                <a16:creationId xmlns:a16="http://schemas.microsoft.com/office/drawing/2014/main" id="{C0AC44BA-DEBF-4840-831D-1074D90E4100}"/>
              </a:ext>
            </a:extLst>
          </p:cNvPr>
          <p:cNvSpPr/>
          <p:nvPr/>
        </p:nvSpPr>
        <p:spPr>
          <a:xfrm>
            <a:off x="7566626" y="4367925"/>
            <a:ext cx="893806" cy="29300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72412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748872" cy="523220"/>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❸年金に関する届出をオンラインで行い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87816" y="2019883"/>
            <a:ext cx="8374797"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すると日本年金機構への届出をパソコンやスマートフォンからオンラインで行うことができます。</a:t>
            </a:r>
          </a:p>
        </p:txBody>
      </p:sp>
      <p:sp>
        <p:nvSpPr>
          <p:cNvPr id="15" name="テキスト ボックス 14">
            <a:extLst>
              <a:ext uri="{FF2B5EF4-FFF2-40B4-BE49-F238E27FC236}">
                <a16:creationId xmlns:a16="http://schemas.microsoft.com/office/drawing/2014/main" id="{A9BE2AE8-614C-46FC-8466-40DAFF174B60}"/>
              </a:ext>
            </a:extLst>
          </p:cNvPr>
          <p:cNvSpPr txBox="1"/>
          <p:nvPr/>
        </p:nvSpPr>
        <p:spPr>
          <a:xfrm>
            <a:off x="508863" y="2807245"/>
            <a:ext cx="8374797" cy="707886"/>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ご利用対象者</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indent="-265113"/>
            <a:r>
              <a:rPr lang="ja-JP" altLang="en-US" sz="2000" b="1" i="0" dirty="0">
                <a:effectLst/>
                <a:latin typeface="Meiryo" panose="020B0604030504040204" pitchFamily="50" charset="-128"/>
                <a:ea typeface="Meiryo" panose="020B0604030504040204" pitchFamily="50" charset="-128"/>
              </a:rPr>
              <a:t>　･･･マイナポータルから「</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している方</a:t>
            </a:r>
          </a:p>
        </p:txBody>
      </p:sp>
      <p:sp>
        <p:nvSpPr>
          <p:cNvPr id="16" name="テキスト ボックス 15">
            <a:extLst>
              <a:ext uri="{FF2B5EF4-FFF2-40B4-BE49-F238E27FC236}">
                <a16:creationId xmlns:a16="http://schemas.microsoft.com/office/drawing/2014/main" id="{03ED920B-F930-469C-BEA0-F9265F76764F}"/>
              </a:ext>
            </a:extLst>
          </p:cNvPr>
          <p:cNvSpPr txBox="1"/>
          <p:nvPr/>
        </p:nvSpPr>
        <p:spPr>
          <a:xfrm>
            <a:off x="508862" y="3560471"/>
            <a:ext cx="8374797" cy="1200329"/>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電子申請が可能な届書</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a:r>
              <a:rPr lang="ja-JP" altLang="en-US" sz="2000" b="1" i="0" dirty="0">
                <a:effectLst/>
                <a:latin typeface="Meiryo" panose="020B0604030504040204" pitchFamily="50" charset="-128"/>
                <a:ea typeface="Meiryo" panose="020B0604030504040204" pitchFamily="50" charset="-128"/>
              </a:rPr>
              <a:t>･･･公的年金等の受給者の扶養親族等申告書</a:t>
            </a:r>
            <a:endParaRPr lang="en-US" altLang="ja-JP" sz="2000" b="1" dirty="0">
              <a:latin typeface="Meiryo" panose="020B0604030504040204" pitchFamily="50" charset="-128"/>
              <a:ea typeface="Meiryo" panose="020B0604030504040204" pitchFamily="50" charset="-128"/>
            </a:endParaRPr>
          </a:p>
          <a:p>
            <a:pPr marL="628650"/>
            <a:r>
              <a:rPr lang="ja-JP" altLang="en-US" sz="1600" dirty="0">
                <a:latin typeface="Meiryo" panose="020B0604030504040204" pitchFamily="50" charset="-128"/>
                <a:ea typeface="Meiryo" panose="020B0604030504040204" pitchFamily="50" charset="-128"/>
              </a:rPr>
              <a:t>（源泉徴収される際に、各種の控除（障害者控除や配偶者控除）を受けることを申告するための申告書）</a:t>
            </a:r>
            <a:endParaRPr lang="ja-JP" altLang="en-US" sz="1600" i="0" dirty="0">
              <a:effectLst/>
              <a:latin typeface="Meiryo" panose="020B0604030504040204" pitchFamily="50" charset="-128"/>
              <a:ea typeface="Meiryo" panose="020B0604030504040204" pitchFamily="50" charset="-128"/>
            </a:endParaRPr>
          </a:p>
        </p:txBody>
      </p:sp>
      <p:sp>
        <p:nvSpPr>
          <p:cNvPr id="2" name="テキスト ボックス 1">
            <a:extLst>
              <a:ext uri="{FF2B5EF4-FFF2-40B4-BE49-F238E27FC236}">
                <a16:creationId xmlns:a16="http://schemas.microsoft.com/office/drawing/2014/main" id="{EA9ECC7F-6A95-4825-A3A2-532531474655}"/>
              </a:ext>
            </a:extLst>
          </p:cNvPr>
          <p:cNvSpPr txBox="1"/>
          <p:nvPr/>
        </p:nvSpPr>
        <p:spPr>
          <a:xfrm>
            <a:off x="2411760" y="4806140"/>
            <a:ext cx="7146912" cy="461665"/>
          </a:xfrm>
          <a:prstGeom prst="rect">
            <a:avLst/>
          </a:prstGeom>
          <a:noFill/>
        </p:spPr>
        <p:txBody>
          <a:bodyPr wrap="square" rtlCol="0">
            <a:spAutoFit/>
          </a:bodyPr>
          <a:lstStyle/>
          <a:p>
            <a:pPr marL="176213" indent="-176213"/>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届出の電子申請には、マイナポータルからのログインが必要です。</a:t>
            </a:r>
            <a:br>
              <a:rPr kumimoji="1" lang="en-US" altLang="ja-JP" sz="1200" b="1" dirty="0">
                <a:latin typeface="メイリオ" panose="020B0604030504040204" pitchFamily="50" charset="-128"/>
                <a:ea typeface="メイリオ" panose="020B0604030504040204" pitchFamily="50" charset="-128"/>
              </a:rPr>
            </a:br>
            <a:r>
              <a:rPr kumimoji="1" lang="ja-JP" altLang="en-US" sz="1200" b="1" dirty="0">
                <a:latin typeface="メイリオ" panose="020B0604030504040204" pitchFamily="50" charset="-128"/>
                <a:ea typeface="メイリオ" panose="020B0604030504040204" pitchFamily="50" charset="-128"/>
              </a:rPr>
              <a:t>ユーザ</a:t>
            </a:r>
            <a:r>
              <a:rPr kumimoji="1" lang="en-US" altLang="ja-JP" sz="1200" b="1" dirty="0">
                <a:latin typeface="メイリオ" panose="020B0604030504040204" pitchFamily="50" charset="-128"/>
                <a:ea typeface="メイリオ" panose="020B0604030504040204" pitchFamily="50" charset="-128"/>
              </a:rPr>
              <a:t>ID</a:t>
            </a:r>
            <a:r>
              <a:rPr kumimoji="1" lang="ja-JP" altLang="en-US" sz="1200" b="1" dirty="0">
                <a:latin typeface="メイリオ" panose="020B0604030504040204" pitchFamily="50" charset="-128"/>
                <a:ea typeface="メイリオ" panose="020B0604030504040204" pitchFamily="50" charset="-128"/>
              </a:rPr>
              <a:t>を用いて</a:t>
            </a:r>
            <a:r>
              <a:rPr kumimoji="1" lang="ja-JP" altLang="en-US" sz="1200" b="1" dirty="0" err="1">
                <a:latin typeface="メイリオ" panose="020B0604030504040204" pitchFamily="50" charset="-128"/>
                <a:ea typeface="メイリオ" panose="020B0604030504040204" pitchFamily="50" charset="-128"/>
              </a:rPr>
              <a:t>ねんきん</a:t>
            </a:r>
            <a:r>
              <a:rPr kumimoji="1" lang="ja-JP" altLang="en-US" sz="1200" b="1" dirty="0">
                <a:latin typeface="メイリオ" panose="020B0604030504040204" pitchFamily="50" charset="-128"/>
                <a:ea typeface="メイリオ" panose="020B0604030504040204" pitchFamily="50" charset="-128"/>
              </a:rPr>
              <a:t>ネットからログインしている方は利用することが出来ません。</a:t>
            </a:r>
          </a:p>
        </p:txBody>
      </p:sp>
      <p:pic>
        <p:nvPicPr>
          <p:cNvPr id="5" name="図 4">
            <a:extLst>
              <a:ext uri="{FF2B5EF4-FFF2-40B4-BE49-F238E27FC236}">
                <a16:creationId xmlns:a16="http://schemas.microsoft.com/office/drawing/2014/main" id="{95311ADA-0C76-43A6-9718-93AEC704A4A2}"/>
              </a:ext>
            </a:extLst>
          </p:cNvPr>
          <p:cNvPicPr>
            <a:picLocks noChangeAspect="1"/>
          </p:cNvPicPr>
          <p:nvPr/>
        </p:nvPicPr>
        <p:blipFill>
          <a:blip r:embed="rId3"/>
          <a:stretch>
            <a:fillRect/>
          </a:stretch>
        </p:blipFill>
        <p:spPr>
          <a:xfrm>
            <a:off x="526163" y="4687123"/>
            <a:ext cx="1450206" cy="1812757"/>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E07CD9F-62C3-16FB-D4FB-A40B87A98BB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5456" y="2862257"/>
            <a:ext cx="1640675" cy="3408959"/>
          </a:xfrm>
          <a:prstGeom prst="rect">
            <a:avLst/>
          </a:prstGeom>
          <a:ln>
            <a:solidFill>
              <a:schemeClr val="tx1"/>
            </a:solidFill>
          </a:ln>
        </p:spPr>
      </p:pic>
      <p:pic>
        <p:nvPicPr>
          <p:cNvPr id="34" name="図 3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BC3D5D4-7C53-8A08-2484-10A686505B4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2" y="2881977"/>
            <a:ext cx="1640676" cy="3408960"/>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7D1FB77B-95F0-8C39-CE34-ED3E1F7366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11" name="テキスト ボックス 10">
            <a:extLst>
              <a:ext uri="{FF2B5EF4-FFF2-40B4-BE49-F238E27FC236}">
                <a16:creationId xmlns:a16="http://schemas.microsoft.com/office/drawing/2014/main" id="{589E0C95-1B7A-0159-E8F0-D96022CFD1AE}"/>
              </a:ext>
            </a:extLst>
          </p:cNvPr>
          <p:cNvSpPr txBox="1"/>
          <p:nvPr/>
        </p:nvSpPr>
        <p:spPr>
          <a:xfrm>
            <a:off x="2444086" y="2126759"/>
            <a:ext cx="2221063"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届書を電子</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申請する」を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3CAFAE88-3465-64BA-FE1F-9B5F7FC19379}"/>
              </a:ext>
            </a:extLst>
          </p:cNvPr>
          <p:cNvSpPr txBox="1"/>
          <p:nvPr/>
        </p:nvSpPr>
        <p:spPr>
          <a:xfrm>
            <a:off x="334538" y="2126759"/>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9FBF022-1ABA-E5BA-1995-5F6C7562A282}"/>
              </a:ext>
            </a:extLst>
          </p:cNvPr>
          <p:cNvSpPr txBox="1"/>
          <p:nvPr/>
        </p:nvSpPr>
        <p:spPr>
          <a:xfrm>
            <a:off x="4600045" y="1981212"/>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作成する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書を選択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D0CBD05E-1D36-72A1-642A-B7BC985E57A7}"/>
              </a:ext>
            </a:extLst>
          </p:cNvPr>
          <p:cNvSpPr txBox="1"/>
          <p:nvPr/>
        </p:nvSpPr>
        <p:spPr>
          <a:xfrm>
            <a:off x="6804249" y="215437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作成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448F4C7D-9D14-18B2-DD95-B401BEF98688}"/>
              </a:ext>
            </a:extLst>
          </p:cNvPr>
          <p:cNvSpPr/>
          <p:nvPr/>
        </p:nvSpPr>
        <p:spPr>
          <a:xfrm>
            <a:off x="2609798" y="4878135"/>
            <a:ext cx="1672518" cy="4488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449DCAAD-CCA9-A404-2B61-3568027AD904}"/>
              </a:ext>
            </a:extLst>
          </p:cNvPr>
          <p:cNvGrpSpPr/>
          <p:nvPr/>
        </p:nvGrpSpPr>
        <p:grpSpPr>
          <a:xfrm>
            <a:off x="828854" y="4137522"/>
            <a:ext cx="296587" cy="293005"/>
            <a:chOff x="2897417" y="3995693"/>
            <a:chExt cx="296587" cy="293005"/>
          </a:xfrm>
        </p:grpSpPr>
        <p:sp>
          <p:nvSpPr>
            <p:cNvPr id="17" name="円/楕円 70">
              <a:extLst>
                <a:ext uri="{FF2B5EF4-FFF2-40B4-BE49-F238E27FC236}">
                  <a16:creationId xmlns:a16="http://schemas.microsoft.com/office/drawing/2014/main" id="{C003AE8F-0783-77D6-226C-09D6E838EA7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875A26CC-C7AB-A473-D566-D57BE8BDB66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6D504C18-7938-8F44-AE96-16616F5BABC5}"/>
              </a:ext>
            </a:extLst>
          </p:cNvPr>
          <p:cNvGrpSpPr/>
          <p:nvPr/>
        </p:nvGrpSpPr>
        <p:grpSpPr>
          <a:xfrm>
            <a:off x="2507955" y="4576155"/>
            <a:ext cx="296586" cy="293005"/>
            <a:chOff x="3546641" y="3995693"/>
            <a:chExt cx="296586" cy="293005"/>
          </a:xfrm>
        </p:grpSpPr>
        <p:sp>
          <p:nvSpPr>
            <p:cNvPr id="20" name="円/楕円 65">
              <a:extLst>
                <a:ext uri="{FF2B5EF4-FFF2-40B4-BE49-F238E27FC236}">
                  <a16:creationId xmlns:a16="http://schemas.microsoft.com/office/drawing/2014/main" id="{A096EDBD-2809-2EA1-9E67-B0303B29A1F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B55253F9-6152-8C6A-8223-D29A7F03EFC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図形グループ 69">
            <a:extLst>
              <a:ext uri="{FF2B5EF4-FFF2-40B4-BE49-F238E27FC236}">
                <a16:creationId xmlns:a16="http://schemas.microsoft.com/office/drawing/2014/main" id="{1BF4826F-69E0-DE7E-1AE6-7F089988CE5D}"/>
              </a:ext>
            </a:extLst>
          </p:cNvPr>
          <p:cNvGrpSpPr/>
          <p:nvPr/>
        </p:nvGrpSpPr>
        <p:grpSpPr>
          <a:xfrm>
            <a:off x="4572000" y="3429000"/>
            <a:ext cx="296586" cy="293005"/>
            <a:chOff x="4232441" y="3995693"/>
            <a:chExt cx="296586" cy="293005"/>
          </a:xfrm>
        </p:grpSpPr>
        <p:sp>
          <p:nvSpPr>
            <p:cNvPr id="23" name="円/楕円 70">
              <a:extLst>
                <a:ext uri="{FF2B5EF4-FFF2-40B4-BE49-F238E27FC236}">
                  <a16:creationId xmlns:a16="http://schemas.microsoft.com/office/drawing/2014/main" id="{667C3A66-F9F6-97B7-0AD8-E1000E334EB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71">
              <a:extLst>
                <a:ext uri="{FF2B5EF4-FFF2-40B4-BE49-F238E27FC236}">
                  <a16:creationId xmlns:a16="http://schemas.microsoft.com/office/drawing/2014/main" id="{BEEE3027-D39A-33DE-2D20-349D488D34C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フリーフォーム 92">
            <a:extLst>
              <a:ext uri="{FF2B5EF4-FFF2-40B4-BE49-F238E27FC236}">
                <a16:creationId xmlns:a16="http://schemas.microsoft.com/office/drawing/2014/main" id="{45CADC57-B830-8DEA-3778-3895257F1767}"/>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矢印: 右 25">
            <a:extLst>
              <a:ext uri="{FF2B5EF4-FFF2-40B4-BE49-F238E27FC236}">
                <a16:creationId xmlns:a16="http://schemas.microsoft.com/office/drawing/2014/main" id="{ACB70E51-0706-B063-8509-404EBE5AE6AA}"/>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四角形: 角を丸くする 26">
            <a:extLst>
              <a:ext uri="{FF2B5EF4-FFF2-40B4-BE49-F238E27FC236}">
                <a16:creationId xmlns:a16="http://schemas.microsoft.com/office/drawing/2014/main" id="{BE0E7854-0B6F-2ABA-1A52-E539FD85CD26}"/>
              </a:ext>
            </a:extLst>
          </p:cNvPr>
          <p:cNvSpPr/>
          <p:nvPr/>
        </p:nvSpPr>
        <p:spPr>
          <a:xfrm>
            <a:off x="5167113" y="4138224"/>
            <a:ext cx="864097" cy="14989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69D899D-84C7-5827-5424-A8D384EC193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sp>
        <p:nvSpPr>
          <p:cNvPr id="35" name="四角形: 角を丸くする 34">
            <a:extLst>
              <a:ext uri="{FF2B5EF4-FFF2-40B4-BE49-F238E27FC236}">
                <a16:creationId xmlns:a16="http://schemas.microsoft.com/office/drawing/2014/main" id="{1EAF3A2D-475F-9CA1-A451-29860B0F49E4}"/>
              </a:ext>
            </a:extLst>
          </p:cNvPr>
          <p:cNvSpPr/>
          <p:nvPr/>
        </p:nvSpPr>
        <p:spPr>
          <a:xfrm>
            <a:off x="7476095" y="4593829"/>
            <a:ext cx="548874" cy="21647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AA5B8546-1270-4A98-8E3D-902357B02C60}"/>
              </a:ext>
            </a:extLst>
          </p:cNvPr>
          <p:cNvSpPr txBox="1"/>
          <p:nvPr/>
        </p:nvSpPr>
        <p:spPr>
          <a:xfrm>
            <a:off x="382315" y="1357792"/>
            <a:ext cx="7800001" cy="646331"/>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電子申請の方法を確認してみ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操作手順の確認のみで、実際に申請は行いません）</a:t>
            </a:r>
          </a:p>
        </p:txBody>
      </p:sp>
    </p:spTree>
    <p:extLst>
      <p:ext uri="{BB962C8B-B14F-4D97-AF65-F5344CB8AC3E}">
        <p14:creationId xmlns:p14="http://schemas.microsoft.com/office/powerpoint/2010/main" val="36762846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sz="3600" dirty="0"/>
              <a:t>3-B</a:t>
            </a:r>
          </a:p>
        </p:txBody>
      </p:sp>
      <p:sp>
        <p:nvSpPr>
          <p:cNvPr id="6" name="テキスト ボックス 5">
            <a:extLst>
              <a:ext uri="{FF2B5EF4-FFF2-40B4-BE49-F238E27FC236}">
                <a16:creationId xmlns:a16="http://schemas.microsoft.com/office/drawing/2014/main" id="{426302A8-F288-C392-13C6-A95A0DF14590}"/>
              </a:ext>
            </a:extLst>
          </p:cNvPr>
          <p:cNvSpPr txBox="1"/>
          <p:nvPr/>
        </p:nvSpPr>
        <p:spPr>
          <a:xfrm>
            <a:off x="467544" y="1484784"/>
            <a:ext cx="8172908" cy="4278094"/>
          </a:xfrm>
          <a:prstGeom prst="rect">
            <a:avLst/>
          </a:prstGeom>
          <a:noFill/>
        </p:spPr>
        <p:txBody>
          <a:bodyPr wrap="square">
            <a:spAutoFit/>
          </a:bodyPr>
          <a:lstStyle/>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被保険者および年金受給者</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昭和</a:t>
            </a:r>
            <a:r>
              <a:rPr lang="en-US" altLang="ja-JP" sz="1600" b="0" i="0" dirty="0">
                <a:solidFill>
                  <a:srgbClr val="000000"/>
                </a:solidFill>
                <a:effectLst/>
                <a:latin typeface="Meiryo" panose="020B0604030504040204" pitchFamily="50" charset="-128"/>
                <a:ea typeface="Meiryo" panose="020B0604030504040204" pitchFamily="50" charset="-128"/>
              </a:rPr>
              <a:t>61</a:t>
            </a:r>
            <a:r>
              <a:rPr lang="ja-JP" altLang="en-US" sz="1600" b="0" i="0" dirty="0">
                <a:solidFill>
                  <a:srgbClr val="000000"/>
                </a:solidFill>
                <a:effectLst/>
                <a:latin typeface="Meiryo" panose="020B0604030504040204" pitchFamily="50" charset="-128"/>
                <a:ea typeface="Meiryo" panose="020B0604030504040204" pitchFamily="50" charset="-128"/>
              </a:rPr>
              <a:t>年</a:t>
            </a:r>
            <a:r>
              <a:rPr lang="en-US" altLang="ja-JP" sz="1600" b="0" i="0" dirty="0">
                <a:solidFill>
                  <a:srgbClr val="000000"/>
                </a:solidFill>
                <a:effectLst/>
                <a:latin typeface="Meiryo" panose="020B0604030504040204" pitchFamily="50" charset="-128"/>
                <a:ea typeface="Meiryo" panose="020B0604030504040204" pitchFamily="50" charset="-128"/>
              </a:rPr>
              <a:t>4</a:t>
            </a:r>
            <a:r>
              <a:rPr lang="ja-JP" altLang="en-US" sz="1600" b="0" i="0" dirty="0">
                <a:solidFill>
                  <a:srgbClr val="000000"/>
                </a:solidFill>
                <a:effectLst/>
                <a:latin typeface="Meiryo" panose="020B0604030504040204" pitchFamily="50" charset="-128"/>
                <a:ea typeface="Meiryo" panose="020B0604030504040204" pitchFamily="50" charset="-128"/>
              </a:rPr>
              <a:t>月</a:t>
            </a:r>
            <a:r>
              <a:rPr lang="en-US" altLang="ja-JP" sz="1600" b="0" i="0" dirty="0">
                <a:solidFill>
                  <a:srgbClr val="000000"/>
                </a:solidFill>
                <a:effectLst/>
                <a:latin typeface="Meiryo" panose="020B0604030504040204" pitchFamily="50" charset="-128"/>
                <a:ea typeface="Meiryo" panose="020B0604030504040204" pitchFamily="50" charset="-128"/>
              </a:rPr>
              <a:t>1</a:t>
            </a:r>
            <a:r>
              <a:rPr lang="ja-JP" altLang="en-US" sz="1600" b="0" i="0" dirty="0">
                <a:solidFill>
                  <a:srgbClr val="000000"/>
                </a:solidFill>
                <a:effectLst/>
                <a:latin typeface="Meiryo" panose="020B0604030504040204" pitchFamily="50" charset="-128"/>
                <a:ea typeface="Meiryo" panose="020B0604030504040204" pitchFamily="50" charset="-128"/>
              </a:rPr>
              <a:t>日前に年金受給権が発生した老齢年金を受けている方を除く</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が対象になります。</a:t>
            </a:r>
            <a:br>
              <a:rPr lang="ja-JP" altLang="en-US" sz="1600" dirty="0"/>
            </a:br>
            <a:r>
              <a:rPr lang="ja-JP" altLang="en-US" sz="1600" b="0" i="0" dirty="0">
                <a:solidFill>
                  <a:srgbClr val="000000"/>
                </a:solidFill>
                <a:effectLst/>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ja-JP" altLang="en-US" sz="1600" b="1" i="0" dirty="0">
                <a:solidFill>
                  <a:srgbClr val="000000"/>
                </a:solidFill>
                <a:effectLst/>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全国の年金事務所で年金加入記録の交付を行ってお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sz="1600" b="0" i="0" dirty="0">
              <a:solidFill>
                <a:srgbClr val="000000"/>
              </a:solidFill>
              <a:effectLst/>
              <a:latin typeface="Meiryo" panose="020B0604030504040204" pitchFamily="50" charset="-128"/>
              <a:ea typeface="Meiryo" panose="020B0604030504040204" pitchFamily="50" charset="-128"/>
            </a:endParaRPr>
          </a:p>
        </p:txBody>
      </p:sp>
      <p:sp>
        <p:nvSpPr>
          <p:cNvPr id="7" name="Rectangle 1">
            <a:extLst>
              <a:ext uri="{FF2B5EF4-FFF2-40B4-BE49-F238E27FC236}">
                <a16:creationId xmlns:a16="http://schemas.microsoft.com/office/drawing/2014/main" id="{58F93D06-34A7-04ED-0736-BC2784B84AAA}"/>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31819234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84784"/>
            <a:ext cx="8310345" cy="1569660"/>
          </a:xfrm>
          <a:prstGeom prst="rect">
            <a:avLst/>
          </a:prstGeom>
        </p:spPr>
        <p:txBody>
          <a:bodyPr wrap="square">
            <a:spAutoFit/>
          </a:bodyPr>
          <a:lstStyle/>
          <a:p>
            <a:pPr marL="6350"/>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ねんきんネット」のお問い合わせ</a:t>
            </a:r>
          </a:p>
          <a:p>
            <a:pPr marL="6350">
              <a:lnSpc>
                <a:spcPct val="150000"/>
              </a:lnSpc>
            </a:pPr>
            <a:r>
              <a:rPr lang="ja-JP" altLang="en-US" sz="2400" b="1" dirty="0">
                <a:latin typeface="メイリオ" panose="020B0604030504040204" pitchFamily="50" charset="-128"/>
                <a:ea typeface="メイリオ" panose="020B0604030504040204" pitchFamily="50" charset="-128"/>
                <a:cs typeface="Meiryo" charset="-128"/>
              </a:rPr>
              <a:t>チャットボット</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b="0" i="0" dirty="0">
                <a:solidFill>
                  <a:srgbClr val="000000"/>
                </a:solidFill>
                <a:effectLst/>
                <a:latin typeface="Meiryo" panose="020B0604030504040204" pitchFamily="50" charset="-128"/>
                <a:ea typeface="Meiryo" panose="020B0604030504040204" pitchFamily="50" charset="-128"/>
              </a:rPr>
              <a:t>日本年金機構ホームページに、「ねんきんネット」に関するよくあるお問い合わせに自動でお答えする「「ねんきんネット」相談チャット」を開設して、</a:t>
            </a:r>
            <a:r>
              <a:rPr lang="en-US" altLang="ja-JP" sz="1400" b="0" i="0" dirty="0">
                <a:solidFill>
                  <a:srgbClr val="000000"/>
                </a:solidFill>
                <a:effectLst/>
                <a:latin typeface="Meiryo" panose="020B0604030504040204" pitchFamily="50" charset="-128"/>
                <a:ea typeface="Meiryo" panose="020B0604030504040204" pitchFamily="50" charset="-128"/>
              </a:rPr>
              <a:t>24</a:t>
            </a:r>
            <a:r>
              <a:rPr lang="ja-JP" altLang="en-US" sz="1400" b="0" i="0" dirty="0">
                <a:solidFill>
                  <a:srgbClr val="000000"/>
                </a:solidFill>
                <a:effectLst/>
                <a:latin typeface="Meiryo" panose="020B0604030504040204" pitchFamily="50" charset="-128"/>
                <a:ea typeface="Meiryo" panose="020B0604030504040204" pitchFamily="50" charset="-128"/>
              </a:rPr>
              <a:t>時間いつでも対応しています。</a:t>
            </a:r>
            <a:endParaRPr lang="en-US" altLang="ja-JP" sz="1400" dirty="0">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5C172A73-22DF-1C00-5E4B-56F27A702107}"/>
              </a:ext>
            </a:extLst>
          </p:cNvPr>
          <p:cNvSpPr/>
          <p:nvPr/>
        </p:nvSpPr>
        <p:spPr>
          <a:xfrm>
            <a:off x="416827" y="3068960"/>
            <a:ext cx="8310345" cy="892552"/>
          </a:xfrm>
          <a:prstGeom prst="rect">
            <a:avLst/>
          </a:prstGeom>
        </p:spPr>
        <p:txBody>
          <a:bodyPr wrap="square">
            <a:spAutoFit/>
          </a:bodyPr>
          <a:lstStyle/>
          <a:p>
            <a:pPr marL="6350"/>
            <a:r>
              <a:rPr lang="ja-JP" altLang="en-US" sz="2400" b="1" dirty="0">
                <a:latin typeface="メイリオ" panose="020B0604030504040204" pitchFamily="50" charset="-128"/>
                <a:ea typeface="メイリオ" panose="020B0604030504040204" pitchFamily="50" charset="-128"/>
                <a:cs typeface="Meiryo" charset="-128"/>
              </a:rPr>
              <a:t>電話</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ねんきん定期便」「ねんきんネット」に関するお問い合わせ</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en-US" altLang="ja-JP" sz="1400" dirty="0">
                <a:latin typeface="メイリオ" panose="020B0604030504040204" pitchFamily="50" charset="-128"/>
                <a:ea typeface="メイリオ" panose="020B0604030504040204" pitchFamily="50" charset="-128"/>
                <a:cs typeface="Meiryo" charset="-128"/>
              </a:rPr>
              <a:t>TEL</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0570-058-555</a:t>
            </a:r>
            <a:r>
              <a:rPr lang="ja-JP" altLang="en-US" sz="1400" dirty="0">
                <a:latin typeface="メイリオ" panose="020B0604030504040204" pitchFamily="50" charset="-128"/>
                <a:ea typeface="メイリオ" panose="020B0604030504040204" pitchFamily="50" charset="-128"/>
                <a:cs typeface="Meiryo" charset="-128"/>
              </a:rPr>
              <a:t>（ナビダイヤル）</a:t>
            </a:r>
            <a:endParaRPr lang="en-US" altLang="ja-JP" sz="1400" dirty="0">
              <a:latin typeface="メイリオ" panose="020B0604030504040204" pitchFamily="50" charset="-128"/>
              <a:ea typeface="メイリオ" panose="020B0604030504040204" pitchFamily="50" charset="-128"/>
              <a:cs typeface="Meiryo" charset="-128"/>
            </a:endParaRPr>
          </a:p>
        </p:txBody>
      </p:sp>
      <p:graphicFrame>
        <p:nvGraphicFramePr>
          <p:cNvPr id="5" name="表 4">
            <a:extLst>
              <a:ext uri="{FF2B5EF4-FFF2-40B4-BE49-F238E27FC236}">
                <a16:creationId xmlns:a16="http://schemas.microsoft.com/office/drawing/2014/main" id="{26C59F2A-F101-EEC6-C9B0-F01FDC43FE2D}"/>
              </a:ext>
            </a:extLst>
          </p:cNvPr>
          <p:cNvGraphicFramePr>
            <a:graphicFrameLocks noGrp="1"/>
          </p:cNvGraphicFramePr>
          <p:nvPr>
            <p:extLst>
              <p:ext uri="{D42A27DB-BD31-4B8C-83A1-F6EECF244321}">
                <p14:modId xmlns:p14="http://schemas.microsoft.com/office/powerpoint/2010/main" val="3909228111"/>
              </p:ext>
            </p:extLst>
          </p:nvPr>
        </p:nvGraphicFramePr>
        <p:xfrm>
          <a:off x="510128" y="4318357"/>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7</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00</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5</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15</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dirty="0">
                          <a:effectLst/>
                          <a:latin typeface="メイリオ" panose="020B0604030504040204" pitchFamily="50" charset="-128"/>
                          <a:ea typeface="メイリオ" panose="020B0604030504040204" pitchFamily="50" charset="-128"/>
                        </a:rPr>
                        <a:t>午前</a:t>
                      </a:r>
                      <a:r>
                        <a:rPr lang="en-US" altLang="ja-JP" sz="1200" dirty="0">
                          <a:effectLst/>
                          <a:latin typeface="メイリオ" panose="020B0604030504040204" pitchFamily="50" charset="-128"/>
                          <a:ea typeface="メイリオ" panose="020B0604030504040204" pitchFamily="50" charset="-128"/>
                        </a:rPr>
                        <a:t>9</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30</a:t>
                      </a:r>
                      <a:r>
                        <a:rPr lang="ja-JP" altLang="en-US" sz="1200" dirty="0">
                          <a:effectLst/>
                          <a:latin typeface="メイリオ" panose="020B0604030504040204" pitchFamily="50" charset="-128"/>
                          <a:ea typeface="メイリオ" panose="020B0604030504040204" pitchFamily="50" charset="-128"/>
                        </a:rPr>
                        <a:t>分から午後</a:t>
                      </a:r>
                      <a:r>
                        <a:rPr lang="en-US" altLang="ja-JP" sz="1200" dirty="0">
                          <a:effectLst/>
                          <a:latin typeface="メイリオ" panose="020B0604030504040204" pitchFamily="50" charset="-128"/>
                          <a:ea typeface="メイリオ" panose="020B0604030504040204" pitchFamily="50" charset="-128"/>
                        </a:rPr>
                        <a:t>4</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00</a:t>
                      </a:r>
                      <a:r>
                        <a:rPr lang="ja-JP" altLang="en-US" sz="1200" dirty="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6" name="Rectangle 1">
            <a:extLst>
              <a:ext uri="{FF2B5EF4-FFF2-40B4-BE49-F238E27FC236}">
                <a16:creationId xmlns:a16="http://schemas.microsoft.com/office/drawing/2014/main" id="{72A0EFB0-51CE-E8B8-B01B-33CE96195E05}"/>
              </a:ext>
            </a:extLst>
          </p:cNvPr>
          <p:cNvSpPr>
            <a:spLocks noChangeArrowheads="1"/>
          </p:cNvSpPr>
          <p:nvPr/>
        </p:nvSpPr>
        <p:spPr bwMode="auto">
          <a:xfrm>
            <a:off x="510127" y="4149080"/>
            <a:ext cx="8217044" cy="169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50から始まる電話でおかけになる場合は、（東京）</a:t>
            </a:r>
            <a:r>
              <a:rPr kumimoji="0" lang="ja-JP" altLang="ja-JP" sz="1100"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3-6700-1144</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一般電話）</a:t>
            </a:r>
            <a:endParaRPr kumimoji="0" lang="ja-JP" altLang="ja-JP" sz="600" b="0" i="0" u="none" strike="noStrike" cap="none" normalizeH="0" baseline="0" dirty="0">
              <a:ln>
                <a:noFill/>
              </a:ln>
              <a:solidFill>
                <a:schemeClr val="tx1"/>
              </a:solidFill>
              <a:effectLst/>
            </a:endParaRPr>
          </a:p>
        </p:txBody>
      </p:sp>
      <p:sp>
        <p:nvSpPr>
          <p:cNvPr id="9" name="テキスト ボックス 8">
            <a:extLst>
              <a:ext uri="{FF2B5EF4-FFF2-40B4-BE49-F238E27FC236}">
                <a16:creationId xmlns:a16="http://schemas.microsoft.com/office/drawing/2014/main" id="{2942A38A-A586-6AB2-732D-8A13B01A1CE0}"/>
              </a:ext>
            </a:extLst>
          </p:cNvPr>
          <p:cNvSpPr txBox="1"/>
          <p:nvPr/>
        </p:nvSpPr>
        <p:spPr>
          <a:xfrm>
            <a:off x="510128" y="5296940"/>
            <a:ext cx="8217044"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月曜日が祝日の場合は、翌日以降の開所日初日に午後7時00分まで相談をお受けします。</a:t>
            </a:r>
            <a:b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b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a:t>
            </a:r>
            <a:r>
              <a:rPr kumimoji="0" lang="ja-JP" altLang="en-US"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土曜日、日曜日、</a:t>
            </a: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祝日</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第2土曜日を除く）、12月29日から1月3日まではご利用いただけません。</a:t>
            </a:r>
            <a:endParaRPr kumimoji="0" lang="ja-JP" altLang="ja-JP"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87D68369-A5D7-8B6D-36B0-53BB9185F0B0}"/>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3074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98DF97C-7611-43C8-BFE1-A7D4CB334D59}"/>
              </a:ext>
            </a:extLst>
          </p:cNvPr>
          <p:cNvPicPr>
            <a:picLocks noChangeAspect="1"/>
          </p:cNvPicPr>
          <p:nvPr/>
        </p:nvPicPr>
        <p:blipFill rotWithShape="1">
          <a:blip r:embed="rId3"/>
          <a:srcRect l="4824" t="12139" r="4034" b="10019"/>
          <a:stretch/>
        </p:blipFill>
        <p:spPr>
          <a:xfrm>
            <a:off x="3242530" y="4502143"/>
            <a:ext cx="3960440" cy="1368152"/>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ねんきんネッ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0" name="サブタイトル 2">
            <a:extLst>
              <a:ext uri="{FF2B5EF4-FFF2-40B4-BE49-F238E27FC236}">
                <a16:creationId xmlns:a16="http://schemas.microsoft.com/office/drawing/2014/main" id="{F391D4F4-4AC7-4D0D-B899-CF1BFCDF979E}"/>
              </a:ext>
            </a:extLst>
          </p:cNvPr>
          <p:cNvSpPr>
            <a:spLocks noGrp="1"/>
          </p:cNvSpPr>
          <p:nvPr>
            <p:ph type="subTitle" idx="1"/>
          </p:nvPr>
        </p:nvSpPr>
        <p:spPr>
          <a:xfrm>
            <a:off x="1770127" y="1412776"/>
            <a:ext cx="6905246" cy="3067506"/>
          </a:xfrm>
        </p:spPr>
        <p:txBody>
          <a:bodyPr wrap="square" numCol="1">
            <a:spAutoFit/>
          </a:bodyPr>
          <a:lstStyle/>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は、インターネットを通じてご自身の年金の情報を手軽に確認できるサービスで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en-US" altLang="ja-JP" dirty="0">
                <a:solidFill>
                  <a:srgbClr val="000000"/>
                </a:solidFill>
                <a:latin typeface="Meiryo" panose="020B0604030504040204" pitchFamily="50" charset="-128"/>
                <a:ea typeface="Meiryo" panose="020B0604030504040204" pitchFamily="50" charset="-128"/>
              </a:rPr>
              <a:t>24</a:t>
            </a:r>
            <a:r>
              <a:rPr lang="ja-JP" altLang="en-US" dirty="0">
                <a:solidFill>
                  <a:srgbClr val="000000"/>
                </a:solidFill>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マイナポータルと連携させることでマイナポータルからも簡単にアクセスが可能になっています。</a:t>
            </a:r>
            <a:endParaRPr lang="en-US" altLang="ja-JP" dirty="0">
              <a:solidFill>
                <a:srgbClr val="000000"/>
              </a:solidFill>
              <a:latin typeface="Meiryo" panose="020B0604030504040204" pitchFamily="50" charset="-128"/>
              <a:ea typeface="Meiryo" panose="020B0604030504040204" pitchFamily="50" charset="-128"/>
            </a:endParaRPr>
          </a:p>
        </p:txBody>
      </p:sp>
      <p:cxnSp>
        <p:nvCxnSpPr>
          <p:cNvPr id="21" name="直線コネクタ 20">
            <a:extLst>
              <a:ext uri="{FF2B5EF4-FFF2-40B4-BE49-F238E27FC236}">
                <a16:creationId xmlns:a16="http://schemas.microsoft.com/office/drawing/2014/main" id="{2D0B0CC1-2C61-4EB1-8364-E9DBA1F6B02C}"/>
              </a:ext>
            </a:extLst>
          </p:cNvPr>
          <p:cNvCxnSpPr/>
          <p:nvPr/>
        </p:nvCxnSpPr>
        <p:spPr>
          <a:xfrm>
            <a:off x="1682496" y="443711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4" name="図 23" descr="マイナちゃんのイラスト">
            <a:extLst>
              <a:ext uri="{FF2B5EF4-FFF2-40B4-BE49-F238E27FC236}">
                <a16:creationId xmlns:a16="http://schemas.microsoft.com/office/drawing/2014/main" id="{10F6D006-CB17-4B5A-B00D-3233732D47F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55981" y="4153428"/>
            <a:ext cx="1282700" cy="1875862"/>
          </a:xfrm>
          <a:prstGeom prst="rect">
            <a:avLst/>
          </a:prstGeom>
        </p:spPr>
      </p:pic>
      <p:sp>
        <p:nvSpPr>
          <p:cNvPr id="25" name="テキスト ボックス 24">
            <a:extLst>
              <a:ext uri="{FF2B5EF4-FFF2-40B4-BE49-F238E27FC236}">
                <a16:creationId xmlns:a16="http://schemas.microsoft.com/office/drawing/2014/main" id="{C03B3B6C-8B20-4E8E-8F77-253A82549F3E}"/>
              </a:ext>
            </a:extLst>
          </p:cNvPr>
          <p:cNvSpPr txBox="1"/>
          <p:nvPr/>
        </p:nvSpPr>
        <p:spPr>
          <a:xfrm>
            <a:off x="1770127" y="5848988"/>
            <a:ext cx="6905246" cy="461665"/>
          </a:xfrm>
          <a:prstGeom prst="rect">
            <a:avLst/>
          </a:prstGeom>
          <a:noFill/>
        </p:spPr>
        <p:txBody>
          <a:bodyPr wrap="square" rtlCol="0">
            <a:spAutoFit/>
          </a:bodyPr>
          <a:lstStyle/>
          <a:p>
            <a:pPr lvl="0"/>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マイナポータルから利用登録する場合、初回利用登録が可能な時間帯は、平日</a:t>
            </a:r>
            <a:r>
              <a:rPr lang="en-US" altLang="ja-JP" sz="1200" b="1" dirty="0">
                <a:solidFill>
                  <a:srgbClr val="009650"/>
                </a:solidFill>
                <a:latin typeface="メイリオ" panose="020B0604030504040204" pitchFamily="50" charset="-128"/>
                <a:ea typeface="メイリオ" panose="020B0604030504040204" pitchFamily="50" charset="-128"/>
              </a:rPr>
              <a:t>8</a:t>
            </a:r>
            <a:r>
              <a:rPr lang="ja-JP" altLang="en-US" sz="1200" b="1" dirty="0">
                <a:solidFill>
                  <a:srgbClr val="009650"/>
                </a:solidFill>
                <a:latin typeface="メイリオ" panose="020B0604030504040204" pitchFamily="50" charset="-128"/>
                <a:ea typeface="メイリオ" panose="020B0604030504040204" pitchFamily="50" charset="-128"/>
              </a:rPr>
              <a:t>時から</a:t>
            </a:r>
            <a:r>
              <a:rPr lang="en-US" altLang="ja-JP" sz="1200" b="1" dirty="0">
                <a:solidFill>
                  <a:srgbClr val="009650"/>
                </a:solidFill>
                <a:latin typeface="メイリオ" panose="020B0604030504040204" pitchFamily="50" charset="-128"/>
                <a:ea typeface="メイリオ" panose="020B0604030504040204" pitchFamily="50" charset="-128"/>
              </a:rPr>
              <a:t>23</a:t>
            </a:r>
            <a:r>
              <a:rPr lang="ja-JP" altLang="en-US" sz="1200" b="1" dirty="0">
                <a:solidFill>
                  <a:srgbClr val="009650"/>
                </a:solidFill>
                <a:latin typeface="メイリオ" panose="020B0604030504040204" pitchFamily="50" charset="-128"/>
                <a:ea typeface="メイリオ" panose="020B0604030504040204" pitchFamily="50" charset="-128"/>
              </a:rPr>
              <a:t>時までとなっており、時間帯によっては連携するまでに時間がかかる場合があります。</a:t>
            </a:r>
          </a:p>
        </p:txBody>
      </p:sp>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5570756" cy="490904"/>
          </a:xfrm>
        </p:spPr>
        <p:txBody>
          <a:bodyPr wrap="none">
            <a:spAutoFit/>
          </a:bodyPr>
          <a:lstStyle/>
          <a:p>
            <a:r>
              <a:rPr lang="ja-JP" altLang="en-US" sz="2800" dirty="0"/>
              <a:t>「ねんきんネット」で出来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4" name="サブタイトル 2">
            <a:extLst>
              <a:ext uri="{FF2B5EF4-FFF2-40B4-BE49-F238E27FC236}">
                <a16:creationId xmlns:a16="http://schemas.microsoft.com/office/drawing/2014/main" id="{FEB86A16-E207-12FF-AFFD-625ADDCE9E0B}"/>
              </a:ext>
            </a:extLst>
          </p:cNvPr>
          <p:cNvSpPr>
            <a:spLocks noGrp="1"/>
          </p:cNvSpPr>
          <p:nvPr/>
        </p:nvSpPr>
        <p:spPr>
          <a:xfrm>
            <a:off x="265114" y="1845060"/>
            <a:ext cx="4287982" cy="4586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ご自身の年金記録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スマートフォンで、</a:t>
            </a:r>
            <a:r>
              <a:rPr lang="en-US" altLang="ja-JP" sz="1400" dirty="0">
                <a:latin typeface="+mn-ea"/>
                <a:ea typeface="+mn-ea"/>
              </a:rPr>
              <a:t>24</a:t>
            </a:r>
            <a:r>
              <a:rPr lang="ja-JP" altLang="en-US" sz="1400" dirty="0">
                <a:latin typeface="+mn-ea"/>
                <a:ea typeface="+mn-ea"/>
              </a:rPr>
              <a:t>時間いつでも最新の年金記録を確認できます。</a:t>
            </a:r>
            <a:endParaRPr lang="en-US" altLang="ja-JP" sz="1400" dirty="0">
              <a:latin typeface="+mn-ea"/>
              <a:ea typeface="+mn-ea"/>
            </a:endParaRPr>
          </a:p>
          <a:p>
            <a:pPr marL="176213" indent="-176213">
              <a:spcBef>
                <a:spcPts val="0"/>
              </a:spcBef>
            </a:pPr>
            <a:endParaRPr lang="en-US" altLang="ja-JP" sz="1400" b="0" i="0" dirty="0">
              <a:solidFill>
                <a:srgbClr val="000000"/>
              </a:solidFill>
              <a:effectLst/>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将来の年金見込額の試算</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さまざまな条件を設定することで、将来受け取る老齢年金の見込額が試算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追納等可能月数と金額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国民年金保険料等が未納の期間や、学生納付特例制度等が適用されている期間とその金額を確認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通知書の再交付申請</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日本年金機構から送付している様々な通知書の再交付を申請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各種通知書の確認</a:t>
            </a:r>
          </a:p>
          <a:p>
            <a:pPr marL="182563" indent="-182563">
              <a:spcBef>
                <a:spcPts val="0"/>
              </a:spcBef>
            </a:pPr>
            <a:r>
              <a:rPr lang="ja-JP" altLang="en-US" sz="1400" dirty="0">
                <a:latin typeface="+mn-ea"/>
                <a:ea typeface="+mn-ea"/>
              </a:rPr>
              <a:t>　日本年金機構から送付している様々な通知書をスマートフォンから確認できます。</a:t>
            </a:r>
            <a:endParaRPr lang="en-US" altLang="ja-JP" sz="1400" dirty="0">
              <a:latin typeface="+mn-ea"/>
              <a:ea typeface="+mn-ea"/>
            </a:endParaRPr>
          </a:p>
        </p:txBody>
      </p:sp>
      <p:sp>
        <p:nvSpPr>
          <p:cNvPr id="6" name="サブタイトル 2">
            <a:extLst>
              <a:ext uri="{FF2B5EF4-FFF2-40B4-BE49-F238E27FC236}">
                <a16:creationId xmlns:a16="http://schemas.microsoft.com/office/drawing/2014/main" id="{F41F231A-C306-FE4E-1973-A476E7DCD748}"/>
              </a:ext>
            </a:extLst>
          </p:cNvPr>
          <p:cNvSpPr>
            <a:spLocks noGrp="1"/>
          </p:cNvSpPr>
          <p:nvPr/>
        </p:nvSpPr>
        <p:spPr>
          <a:xfrm>
            <a:off x="4428858" y="1803485"/>
            <a:ext cx="4580144" cy="429698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作成</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提出する届書を手書きすることなく「</a:t>
            </a:r>
            <a:r>
              <a:rPr lang="ja-JP" altLang="en-US" sz="1400" dirty="0" err="1">
                <a:latin typeface="+mn-ea"/>
                <a:ea typeface="+mn-ea"/>
              </a:rPr>
              <a:t>ねんきん</a:t>
            </a:r>
            <a:r>
              <a:rPr lang="ja-JP" altLang="en-US" sz="1400" dirty="0">
                <a:latin typeface="+mn-ea"/>
                <a:ea typeface="+mn-ea"/>
              </a:rPr>
              <a:t>ネット」上で作成することができます。</a:t>
            </a:r>
            <a:endParaRPr lang="en-US" altLang="ja-JP" sz="1400" dirty="0">
              <a:latin typeface="+mn-ea"/>
              <a:ea typeface="+mn-ea"/>
            </a:endParaRPr>
          </a:p>
          <a:p>
            <a:pPr marL="182563" indent="-182563">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電子申請</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の届出の申請をスマートフォンから行うことができます。</a:t>
            </a:r>
            <a:endParaRPr lang="en-US" altLang="ja-JP" sz="1400" dirty="0">
              <a:latin typeface="+mn-ea"/>
              <a:ea typeface="+mn-ea"/>
            </a:endParaRPr>
          </a:p>
          <a:p>
            <a:pPr>
              <a:spcBef>
                <a:spcPts val="0"/>
              </a:spcBef>
            </a:pPr>
            <a:endParaRPr lang="en-US" altLang="ja-JP" i="0" dirty="0">
              <a:solidFill>
                <a:srgbClr val="00B050"/>
              </a:solidFill>
              <a:effectLst/>
              <a:latin typeface="+mn-ea"/>
              <a:ea typeface="+mn-ea"/>
            </a:endParaRPr>
          </a:p>
          <a:p>
            <a:pPr marL="263525" indent="-263525">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電子版「被保険者記録照会回答票」の確認</a:t>
            </a:r>
            <a:endParaRPr lang="en-US" altLang="ja-JP" i="0" u="sng" dirty="0">
              <a:solidFill>
                <a:srgbClr val="00B050"/>
              </a:solidFill>
              <a:effectLst/>
              <a:latin typeface="+mn-ea"/>
              <a:ea typeface="+mn-ea"/>
            </a:endParaRPr>
          </a:p>
          <a:p>
            <a:pPr marL="182563" indent="-182563">
              <a:spcBef>
                <a:spcPts val="0"/>
              </a:spcBef>
            </a:pPr>
            <a:r>
              <a:rPr lang="ja-JP" altLang="en-US" sz="1400" i="0" dirty="0">
                <a:effectLst/>
                <a:latin typeface="+mn-ea"/>
                <a:ea typeface="+mn-ea"/>
              </a:rPr>
              <a:t>　年金記録の相談をした際に発行される「被保険者記録照会回答票」をスマートフォンから確認できます。</a:t>
            </a:r>
            <a:endParaRPr lang="en-US" altLang="ja-JP" sz="1400" i="0" dirty="0">
              <a:effectLst/>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電子版「ねんきん定期便」の確認</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毎年誕生月に送付される「</a:t>
            </a:r>
            <a:r>
              <a:rPr lang="ja-JP" altLang="en-US" sz="1400" dirty="0" err="1">
                <a:latin typeface="+mn-ea"/>
                <a:ea typeface="+mn-ea"/>
              </a:rPr>
              <a:t>ねんきん</a:t>
            </a:r>
            <a:r>
              <a:rPr lang="ja-JP" altLang="en-US" sz="1400" dirty="0">
                <a:latin typeface="+mn-ea"/>
                <a:ea typeface="+mn-ea"/>
              </a:rPr>
              <a:t>定期便」をスマートフォンから確認できます。</a:t>
            </a:r>
            <a:endParaRPr lang="en-US" altLang="ja-JP" sz="1400" dirty="0">
              <a:latin typeface="+mn-ea"/>
              <a:ea typeface="+mn-ea"/>
            </a:endParaRPr>
          </a:p>
          <a:p>
            <a:pPr marL="182563" indent="-182563">
              <a:spcBef>
                <a:spcPts val="0"/>
              </a:spcBef>
            </a:pPr>
            <a:endParaRPr lang="en-US" altLang="ja-JP" sz="1400" dirty="0">
              <a:solidFill>
                <a:srgbClr val="00B050"/>
              </a:solidFill>
              <a:latin typeface="+mn-ea"/>
              <a:ea typeface="+mn-ea"/>
            </a:endParaRPr>
          </a:p>
          <a:p>
            <a:pPr marL="182563" indent="-182563">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持ち主不明記録検索</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現在持ち主がわからなくなっている年金記録などをインターネット上で検索できます。</a:t>
            </a:r>
            <a:endParaRPr lang="en-US" altLang="ja-JP" sz="1400" dirty="0">
              <a:latin typeface="+mn-ea"/>
              <a:ea typeface="+mn-ea"/>
            </a:endParaRPr>
          </a:p>
        </p:txBody>
      </p:sp>
      <p:sp>
        <p:nvSpPr>
          <p:cNvPr id="9" name="サブタイトル 2">
            <a:extLst>
              <a:ext uri="{FF2B5EF4-FFF2-40B4-BE49-F238E27FC236}">
                <a16:creationId xmlns:a16="http://schemas.microsoft.com/office/drawing/2014/main" id="{EB877743-67DF-45CE-9D46-1CD9FFE2F23F}"/>
              </a:ext>
            </a:extLst>
          </p:cNvPr>
          <p:cNvSpPr>
            <a:spLocks noGrp="1"/>
          </p:cNvSpPr>
          <p:nvPr>
            <p:ph type="subTitle" idx="1"/>
          </p:nvPr>
        </p:nvSpPr>
        <p:spPr>
          <a:xfrm>
            <a:off x="113569" y="1314319"/>
            <a:ext cx="7879080" cy="433965"/>
          </a:xfrm>
        </p:spPr>
        <p:txBody>
          <a:bodyPr wrap="none">
            <a:spAutoFit/>
          </a:bodyPr>
          <a:lstStyle/>
          <a:p>
            <a:pPr>
              <a:spcBef>
                <a:spcPts val="400"/>
              </a:spcBef>
            </a:pPr>
            <a:r>
              <a:rPr lang="ja-JP" altLang="en-US" dirty="0"/>
              <a:t>「</a:t>
            </a:r>
            <a:r>
              <a:rPr lang="ja-JP" altLang="en-US" dirty="0" err="1"/>
              <a:t>ねんきん</a:t>
            </a:r>
            <a:r>
              <a:rPr lang="ja-JP" altLang="en-US" dirty="0"/>
              <a:t>ネット」には以下のような機能があります。</a:t>
            </a:r>
          </a:p>
        </p:txBody>
      </p:sp>
      <p:sp>
        <p:nvSpPr>
          <p:cNvPr id="2" name="テキスト ボックス 1">
            <a:extLst>
              <a:ext uri="{FF2B5EF4-FFF2-40B4-BE49-F238E27FC236}">
                <a16:creationId xmlns:a16="http://schemas.microsoft.com/office/drawing/2014/main" id="{B24291D7-B61C-462B-BCAF-D75A43230195}"/>
              </a:ext>
            </a:extLst>
          </p:cNvPr>
          <p:cNvSpPr txBox="1"/>
          <p:nvPr/>
        </p:nvSpPr>
        <p:spPr>
          <a:xfrm>
            <a:off x="7496359" y="6155667"/>
            <a:ext cx="992579" cy="369332"/>
          </a:xfrm>
          <a:prstGeom prst="rect">
            <a:avLst/>
          </a:prstGeom>
          <a:noFill/>
        </p:spPr>
        <p:txBody>
          <a:bodyPr wrap="none" rtlCol="0">
            <a:spAutoFit/>
          </a:bodyPr>
          <a:lstStyle/>
          <a:p>
            <a:r>
              <a:rPr kumimoji="1" lang="ja-JP" altLang="en-US" b="1" dirty="0">
                <a:solidFill>
                  <a:srgbClr val="00B050"/>
                </a:solidFill>
              </a:rPr>
              <a:t>等々･･･</a:t>
            </a:r>
          </a:p>
        </p:txBody>
      </p:sp>
      <p:sp>
        <p:nvSpPr>
          <p:cNvPr id="3" name="テキスト ボックス 2">
            <a:extLst>
              <a:ext uri="{FF2B5EF4-FFF2-40B4-BE49-F238E27FC236}">
                <a16:creationId xmlns:a16="http://schemas.microsoft.com/office/drawing/2014/main" id="{BA4257FF-1850-4A62-AB2E-4921E195AE19}"/>
              </a:ext>
            </a:extLst>
          </p:cNvPr>
          <p:cNvSpPr txBox="1"/>
          <p:nvPr/>
        </p:nvSpPr>
        <p:spPr>
          <a:xfrm>
            <a:off x="5614111" y="1601666"/>
            <a:ext cx="3416320" cy="276999"/>
          </a:xfrm>
          <a:prstGeom prst="rect">
            <a:avLst/>
          </a:prstGeom>
          <a:noFill/>
        </p:spPr>
        <p:txBody>
          <a:bodyPr wrap="none" rtlCol="0">
            <a:spAutoFit/>
          </a:bodyPr>
          <a:lstStyle/>
          <a:p>
            <a:r>
              <a:rPr kumimoji="1" lang="ja-JP" altLang="en-US" sz="1200" b="1" dirty="0"/>
              <a:t>（パソコンのみで利用できる機能も含みます）</a:t>
            </a:r>
          </a:p>
        </p:txBody>
      </p:sp>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ねんきんネット」</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　の登録</a:t>
            </a:r>
            <a:r>
              <a:rPr lang="ja-JP" altLang="en-US" sz="4800" dirty="0">
                <a:solidFill>
                  <a:srgbClr val="009650"/>
                </a:solidFill>
              </a:rPr>
              <a:t>をしよ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433032" y="1983267"/>
            <a:ext cx="4044018" cy="677108"/>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マイナポータルからの利用登録</a:t>
            </a:r>
            <a:r>
              <a:rPr lang="ja-JP" altLang="en-US" b="1" i="0" dirty="0">
                <a:solidFill>
                  <a:srgbClr val="009650"/>
                </a:solidFill>
                <a:effectLst/>
                <a:latin typeface="Meiryo" panose="020B0604030504040204" pitchFamily="50" charset="-128"/>
                <a:ea typeface="Meiryo" panose="020B0604030504040204" pitchFamily="50" charset="-128"/>
              </a:rPr>
              <a:t>（ユーザ</a:t>
            </a:r>
            <a:r>
              <a:rPr lang="en-US" altLang="ja-JP" b="1" i="0" dirty="0">
                <a:solidFill>
                  <a:srgbClr val="009650"/>
                </a:solidFill>
                <a:effectLst/>
                <a:latin typeface="Meiryo" panose="020B0604030504040204" pitchFamily="50" charset="-128"/>
                <a:ea typeface="Meiryo" panose="020B0604030504040204" pitchFamily="50" charset="-128"/>
              </a:rPr>
              <a:t>ID</a:t>
            </a:r>
            <a:r>
              <a:rPr lang="ja-JP" altLang="en-US" b="1" i="0" dirty="0">
                <a:solidFill>
                  <a:srgbClr val="009650"/>
                </a:solidFill>
                <a:effectLst/>
                <a:latin typeface="Meiryo" panose="020B0604030504040204" pitchFamily="50" charset="-128"/>
                <a:ea typeface="Meiryo" panose="020B0604030504040204" pitchFamily="50" charset="-128"/>
              </a:rPr>
              <a:t>取得不要）</a:t>
            </a:r>
          </a:p>
        </p:txBody>
      </p:sp>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00391" y="1367920"/>
            <a:ext cx="8376065" cy="360000"/>
          </a:xfrm>
        </p:spPr>
        <p:txBody>
          <a:bodyPr>
            <a:noAutofit/>
          </a:bodyPr>
          <a:lstStyle/>
          <a:p>
            <a:r>
              <a:rPr lang="ja-JP" altLang="en-US" i="0" dirty="0">
                <a:solidFill>
                  <a:srgbClr val="000000"/>
                </a:solidFill>
                <a:effectLst/>
                <a:latin typeface="Meiryo" panose="020B0604030504040204" pitchFamily="50" charset="-128"/>
                <a:ea typeface="Meiryo" panose="020B0604030504040204" pitchFamily="50" charset="-128"/>
              </a:rPr>
              <a:t>「ねんきんネット」の登録には以下の</a:t>
            </a:r>
            <a:r>
              <a:rPr lang="en-US" altLang="ja-JP" i="0" dirty="0">
                <a:solidFill>
                  <a:srgbClr val="000000"/>
                </a:solidFill>
                <a:effectLst/>
                <a:latin typeface="Meiryo" panose="020B0604030504040204" pitchFamily="50" charset="-128"/>
                <a:ea typeface="Meiryo" panose="020B0604030504040204" pitchFamily="50" charset="-128"/>
              </a:rPr>
              <a:t>2</a:t>
            </a:r>
            <a:r>
              <a:rPr lang="ja-JP" altLang="en-US" i="0" dirty="0">
                <a:solidFill>
                  <a:srgbClr val="000000"/>
                </a:solidFill>
                <a:effectLst/>
                <a:latin typeface="Meiryo" panose="020B0604030504040204" pitchFamily="50" charset="-128"/>
                <a:ea typeface="Meiryo" panose="020B0604030504040204" pitchFamily="50" charset="-128"/>
              </a:rPr>
              <a:t>つの方法があります。</a:t>
            </a:r>
            <a:endParaRPr lang="ja-JP" altLang="en-US" dirty="0"/>
          </a:p>
        </p:txBody>
      </p:sp>
      <p:sp>
        <p:nvSpPr>
          <p:cNvPr id="3" name="テキスト ボックス 2">
            <a:extLst>
              <a:ext uri="{FF2B5EF4-FFF2-40B4-BE49-F238E27FC236}">
                <a16:creationId xmlns:a16="http://schemas.microsoft.com/office/drawing/2014/main" id="{8ECF7AE5-B800-9A5E-1F0D-4F947EF69E4E}"/>
              </a:ext>
            </a:extLst>
          </p:cNvPr>
          <p:cNvSpPr txBox="1"/>
          <p:nvPr/>
        </p:nvSpPr>
        <p:spPr>
          <a:xfrm>
            <a:off x="4738695" y="1967878"/>
            <a:ext cx="4004208" cy="707886"/>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ねんきんネット」から</a:t>
            </a:r>
            <a:r>
              <a:rPr lang="ja-JP" altLang="en-US" sz="2000" b="1" dirty="0">
                <a:solidFill>
                  <a:srgbClr val="009650"/>
                </a:solidFill>
                <a:latin typeface="Meiryo" panose="020B0604030504040204" pitchFamily="50" charset="-128"/>
                <a:ea typeface="Meiryo" panose="020B0604030504040204" pitchFamily="50" charset="-128"/>
              </a:rPr>
              <a:t>利用登録</a:t>
            </a:r>
            <a:endParaRPr lang="en-US" altLang="ja-JP" sz="2000" b="1" dirty="0">
              <a:solidFill>
                <a:srgbClr val="009650"/>
              </a:solidFill>
              <a:latin typeface="Meiryo" panose="020B0604030504040204" pitchFamily="50" charset="-128"/>
              <a:ea typeface="Meiryo" panose="020B0604030504040204" pitchFamily="50" charset="-128"/>
            </a:endParaRPr>
          </a:p>
          <a:p>
            <a:r>
              <a:rPr lang="ja-JP" altLang="en-US" sz="2000" b="1" i="0" dirty="0">
                <a:solidFill>
                  <a:srgbClr val="009650"/>
                </a:solidFill>
                <a:effectLst/>
                <a:latin typeface="Meiryo" panose="020B0604030504040204" pitchFamily="50" charset="-128"/>
                <a:ea typeface="Meiryo" panose="020B0604030504040204" pitchFamily="50" charset="-128"/>
              </a:rPr>
              <a:t>（ユーザ</a:t>
            </a:r>
            <a:r>
              <a:rPr lang="en-US" altLang="ja-JP" sz="2000" b="1" i="0" dirty="0">
                <a:solidFill>
                  <a:srgbClr val="009650"/>
                </a:solidFill>
                <a:effectLst/>
                <a:latin typeface="Meiryo" panose="020B0604030504040204" pitchFamily="50" charset="-128"/>
                <a:ea typeface="Meiryo" panose="020B0604030504040204" pitchFamily="50" charset="-128"/>
              </a:rPr>
              <a:t>ID</a:t>
            </a:r>
            <a:r>
              <a:rPr lang="ja-JP" altLang="en-US" sz="2000" b="1" i="0" dirty="0">
                <a:solidFill>
                  <a:srgbClr val="009650"/>
                </a:solidFill>
                <a:effectLst/>
                <a:latin typeface="Meiryo" panose="020B0604030504040204" pitchFamily="50" charset="-128"/>
                <a:ea typeface="Meiryo" panose="020B0604030504040204" pitchFamily="50" charset="-128"/>
              </a:rPr>
              <a:t>取得必要）</a:t>
            </a:r>
          </a:p>
        </p:txBody>
      </p:sp>
      <p:sp>
        <p:nvSpPr>
          <p:cNvPr id="16" name="テキスト ボックス 15">
            <a:extLst>
              <a:ext uri="{FF2B5EF4-FFF2-40B4-BE49-F238E27FC236}">
                <a16:creationId xmlns:a16="http://schemas.microsoft.com/office/drawing/2014/main" id="{C535E688-A357-33C2-59C1-21BD5A5FA4A1}"/>
              </a:ext>
            </a:extLst>
          </p:cNvPr>
          <p:cNvSpPr txBox="1"/>
          <p:nvPr/>
        </p:nvSpPr>
        <p:spPr>
          <a:xfrm>
            <a:off x="433032" y="2794242"/>
            <a:ext cx="4014201" cy="2939266"/>
          </a:xfrm>
          <a:prstGeom prst="rect">
            <a:avLst/>
          </a:prstGeom>
          <a:noFill/>
        </p:spPr>
        <p:txBody>
          <a:bodyPr wrap="square">
            <a:spAutoFit/>
          </a:bodyPr>
          <a:lstStyle/>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パソコンもしくはスマートフォンからマイナポータルにログイン</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r>
              <a:rPr lang="ja-JP" altLang="en-US" b="1" i="0" dirty="0">
                <a:solidFill>
                  <a:srgbClr val="000000"/>
                </a:solidFill>
                <a:effectLst/>
                <a:latin typeface="Meiryo" panose="020B0604030504040204" pitchFamily="50" charset="-128"/>
                <a:ea typeface="Meiryo" panose="020B0604030504040204" pitchFamily="50" charset="-128"/>
              </a:rPr>
              <a:t>↓</a:t>
            </a:r>
            <a:endParaRPr lang="en-US" altLang="ja-JP" b="1" i="0" dirty="0">
              <a:solidFill>
                <a:srgbClr val="000000"/>
              </a:solidFill>
              <a:effectLst/>
              <a:latin typeface="Meiryo" panose="020B0604030504040204" pitchFamily="50" charset="-128"/>
              <a:ea typeface="Meiryo" panose="020B0604030504040204" pitchFamily="50" charset="-128"/>
            </a:endParaRPr>
          </a:p>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年金記録・見込額を見る」</a:t>
            </a:r>
            <a:r>
              <a:rPr lang="ja-JP" altLang="en-US" b="1" u="sng" dirty="0">
                <a:solidFill>
                  <a:srgbClr val="000000"/>
                </a:solidFill>
                <a:highlight>
                  <a:srgbClr val="CCFFCC"/>
                </a:highlight>
                <a:latin typeface="Meiryo" panose="020B0604030504040204" pitchFamily="50" charset="-128"/>
                <a:ea typeface="Meiryo" panose="020B0604030504040204" pitchFamily="50" charset="-128"/>
              </a:rPr>
              <a:t>（</a:t>
            </a:r>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ねんきんネット）から「ねんきんネット」へ連携手続き</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spcBef>
                <a:spcPts val="600"/>
              </a:spcBef>
            </a:pPr>
            <a:r>
              <a:rPr lang="ja-JP" altLang="en-US" b="1" i="0" dirty="0">
                <a:solidFill>
                  <a:srgbClr val="000000"/>
                </a:solidFill>
                <a:effectLst/>
                <a:latin typeface="Meiryo" panose="020B0604030504040204" pitchFamily="50" charset="-128"/>
                <a:ea typeface="Meiryo" panose="020B0604030504040204" pitchFamily="50" charset="-128"/>
              </a:rPr>
              <a:t>の流れで利用登録を行います。</a:t>
            </a:r>
            <a:endParaRPr lang="en-US" altLang="ja-JP" b="1" i="0" dirty="0">
              <a:solidFill>
                <a:srgbClr val="000000"/>
              </a:solidFill>
              <a:effectLst/>
              <a:latin typeface="Meiryo" panose="020B0604030504040204" pitchFamily="50" charset="-128"/>
              <a:ea typeface="Meiryo" panose="020B0604030504040204" pitchFamily="50" charset="-128"/>
            </a:endParaRPr>
          </a:p>
          <a:p>
            <a:pPr fontAlgn="base"/>
            <a:r>
              <a:rPr lang="ja-JP" altLang="en-US" b="1" dirty="0">
                <a:solidFill>
                  <a:srgbClr val="000000"/>
                </a:solidFill>
                <a:latin typeface="Meiryo" panose="020B0604030504040204" pitchFamily="50" charset="-128"/>
                <a:ea typeface="Meiryo" panose="020B0604030504040204" pitchFamily="50" charset="-128"/>
              </a:rPr>
              <a:t>マイナンバーカードとメールアドレスが必要となります。</a:t>
            </a:r>
            <a:endParaRPr lang="en-US" altLang="ja-JP" b="1" dirty="0">
              <a:solidFill>
                <a:srgbClr val="000000"/>
              </a:solidFill>
              <a:latin typeface="Meiryo" panose="020B0604030504040204" pitchFamily="50" charset="-128"/>
              <a:ea typeface="Meiryo" panose="020B0604030504040204" pitchFamily="50" charset="-128"/>
            </a:endParaRPr>
          </a:p>
          <a:p>
            <a:pPr algn="r" fontAlgn="base"/>
            <a:r>
              <a:rPr lang="en-US" altLang="ja-JP" sz="1100" dirty="0">
                <a:solidFill>
                  <a:srgbClr val="00B050"/>
                </a:solidFill>
                <a:latin typeface="Meiryo" panose="020B0604030504040204" pitchFamily="50" charset="-128"/>
                <a:ea typeface="Meiryo" panose="020B0604030504040204" pitchFamily="50" charset="-128"/>
              </a:rPr>
              <a:t>※</a:t>
            </a:r>
            <a:r>
              <a:rPr lang="ja-JP" altLang="en-US" sz="1100" dirty="0">
                <a:solidFill>
                  <a:srgbClr val="00B050"/>
                </a:solidFill>
                <a:latin typeface="Meiryo" panose="020B0604030504040204" pitchFamily="50" charset="-128"/>
                <a:ea typeface="Meiryo" panose="020B0604030504040204" pitchFamily="50" charset="-128"/>
              </a:rPr>
              <a:t>環境により表示が異なります。</a:t>
            </a:r>
          </a:p>
        </p:txBody>
      </p:sp>
      <p:sp>
        <p:nvSpPr>
          <p:cNvPr id="17" name="テキスト ボックス 16">
            <a:extLst>
              <a:ext uri="{FF2B5EF4-FFF2-40B4-BE49-F238E27FC236}">
                <a16:creationId xmlns:a16="http://schemas.microsoft.com/office/drawing/2014/main" id="{53C29237-4679-205E-DFF5-C823BD6B8193}"/>
              </a:ext>
            </a:extLst>
          </p:cNvPr>
          <p:cNvSpPr txBox="1"/>
          <p:nvPr/>
        </p:nvSpPr>
        <p:spPr>
          <a:xfrm>
            <a:off x="4662500" y="2805607"/>
            <a:ext cx="4115503" cy="2369880"/>
          </a:xfrm>
          <a:prstGeom prst="rect">
            <a:avLst/>
          </a:prstGeom>
          <a:noFill/>
        </p:spPr>
        <p:txBody>
          <a:bodyPr wrap="square">
            <a:spAutoFit/>
          </a:bodyPr>
          <a:lstStyle/>
          <a:p>
            <a:pPr algn="l" fontAlgn="base"/>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ねんきんネット」のユーザ</a:t>
            </a:r>
            <a:r>
              <a:rPr lang="en-US" altLang="ja-JP" b="1" i="0" dirty="0">
                <a:solidFill>
                  <a:srgbClr val="000000"/>
                </a:solidFill>
                <a:effectLst/>
                <a:highlight>
                  <a:srgbClr val="CCFFCC"/>
                </a:highlight>
                <a:latin typeface="Meiryo" panose="020B0604030504040204" pitchFamily="50" charset="-128"/>
                <a:ea typeface="Meiryo" panose="020B0604030504040204" pitchFamily="50" charset="-128"/>
              </a:rPr>
              <a:t>ID</a:t>
            </a:r>
            <a:r>
              <a:rPr lang="en-US" altLang="ja-JP" sz="1100" b="1" i="0" dirty="0">
                <a:solidFill>
                  <a:srgbClr val="000000"/>
                </a:solidFill>
                <a:effectLst/>
                <a:highlight>
                  <a:srgbClr val="CCFFCC"/>
                </a:highlight>
                <a:latin typeface="Meiryo" panose="020B0604030504040204" pitchFamily="50" charset="-128"/>
                <a:ea typeface="Meiryo" panose="020B0604030504040204" pitchFamily="50" charset="-128"/>
              </a:rPr>
              <a:t>※</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取得の上、「</a:t>
            </a:r>
            <a:r>
              <a:rPr lang="ja-JP" altLang="en-US" b="1" i="0" dirty="0" err="1">
                <a:solidFill>
                  <a:srgbClr val="000000"/>
                </a:solidFill>
                <a:effectLst/>
                <a:highlight>
                  <a:srgbClr val="CCFFCC"/>
                </a:highlight>
                <a:latin typeface="Meiryo" panose="020B0604030504040204" pitchFamily="50" charset="-128"/>
                <a:ea typeface="Meiryo" panose="020B0604030504040204" pitchFamily="50" charset="-128"/>
              </a:rPr>
              <a:t>ねんきん</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ネット」から利用登録をします。</a:t>
            </a:r>
            <a:r>
              <a:rPr lang="ja-JP" altLang="en-US" b="1" i="0" u="sng" dirty="0">
                <a:solidFill>
                  <a:srgbClr val="00B050"/>
                </a:solidFill>
                <a:effectLst/>
                <a:highlight>
                  <a:srgbClr val="CCFFCC"/>
                </a:highlight>
                <a:latin typeface="Meiryo" panose="020B0604030504040204" pitchFamily="50" charset="-128"/>
                <a:ea typeface="Meiryo" panose="020B0604030504040204" pitchFamily="50" charset="-128"/>
              </a:rPr>
              <a:t>アクセスキー</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持っている方と持っていない方で登録方法が異なります。</a:t>
            </a:r>
            <a:endParaRPr lang="en-US" altLang="ja-JP" b="1" i="0" dirty="0">
              <a:solidFill>
                <a:srgbClr val="000000"/>
              </a:solidFill>
              <a:effectLst/>
              <a:highlight>
                <a:srgbClr val="CCFFCC"/>
              </a:highlight>
              <a:latin typeface="Meiryo" panose="020B0604030504040204" pitchFamily="50" charset="-128"/>
              <a:ea typeface="Meiryo" panose="020B0604030504040204" pitchFamily="50" charset="-128"/>
            </a:endParaRPr>
          </a:p>
          <a:p>
            <a:pPr algn="l" fontAlgn="base">
              <a:spcBef>
                <a:spcPts val="600"/>
              </a:spcBef>
            </a:pPr>
            <a:r>
              <a:rPr lang="en-US" altLang="ja-JP" sz="1200" b="1" i="0" dirty="0">
                <a:solidFill>
                  <a:srgbClr val="000000"/>
                </a:solidFill>
                <a:effectLst/>
                <a:latin typeface="Meiryo" panose="020B0604030504040204" pitchFamily="50" charset="-128"/>
                <a:ea typeface="Meiryo" panose="020B0604030504040204" pitchFamily="50" charset="-128"/>
              </a:rPr>
              <a:t>※</a:t>
            </a:r>
            <a:r>
              <a:rPr lang="ja-JP" altLang="en-US" sz="1200" b="1" i="0" dirty="0">
                <a:solidFill>
                  <a:srgbClr val="000000"/>
                </a:solidFill>
                <a:effectLst/>
                <a:latin typeface="Meiryo" panose="020B0604030504040204" pitchFamily="50" charset="-128"/>
                <a:ea typeface="Meiryo" panose="020B0604030504040204" pitchFamily="50" charset="-128"/>
              </a:rPr>
              <a:t>ユーザ</a:t>
            </a:r>
            <a:r>
              <a:rPr lang="en-US" altLang="ja-JP" sz="1200" b="1" i="0" dirty="0">
                <a:solidFill>
                  <a:srgbClr val="000000"/>
                </a:solidFill>
                <a:effectLst/>
                <a:latin typeface="Meiryo" panose="020B0604030504040204" pitchFamily="50" charset="-128"/>
                <a:ea typeface="Meiryo" panose="020B0604030504040204" pitchFamily="50" charset="-128"/>
              </a:rPr>
              <a:t>ID</a:t>
            </a:r>
            <a:r>
              <a:rPr lang="ja-JP" altLang="en-US" sz="1200" b="1" i="0" dirty="0">
                <a:solidFill>
                  <a:srgbClr val="000000"/>
                </a:solidFill>
                <a:effectLst/>
                <a:latin typeface="Meiryo" panose="020B0604030504040204" pitchFamily="50" charset="-128"/>
                <a:ea typeface="Meiryo" panose="020B0604030504040204" pitchFamily="50" charset="-128"/>
              </a:rPr>
              <a:t>の取得</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dirty="0">
                <a:solidFill>
                  <a:srgbClr val="000000"/>
                </a:solidFill>
                <a:latin typeface="Meiryo" panose="020B0604030504040204" pitchFamily="50" charset="-128"/>
                <a:ea typeface="Meiryo" panose="020B0604030504040204" pitchFamily="50" charset="-128"/>
              </a:rPr>
              <a:t>→年金手帳や年金証書などで確認できる「基礎年金番号」と登録するメールアドレスが必要となります。</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i="0" u="sng" dirty="0">
                <a:solidFill>
                  <a:srgbClr val="000000"/>
                </a:solidFill>
                <a:effectLst/>
                <a:latin typeface="Meiryo" panose="020B0604030504040204" pitchFamily="50" charset="-128"/>
                <a:ea typeface="Meiryo" panose="020B0604030504040204" pitchFamily="50" charset="-128"/>
              </a:rPr>
              <a:t>アクセスキー</a:t>
            </a:r>
            <a:r>
              <a:rPr lang="ja-JP" altLang="en-US" sz="1200" b="1" i="0" dirty="0">
                <a:solidFill>
                  <a:srgbClr val="000000"/>
                </a:solidFill>
                <a:effectLst/>
                <a:latin typeface="Meiryo" panose="020B0604030504040204" pitchFamily="50" charset="-128"/>
                <a:ea typeface="Meiryo" panose="020B0604030504040204" pitchFamily="50" charset="-128"/>
              </a:rPr>
              <a:t>をお持ちの場合はあわせてご用意ください。</a:t>
            </a:r>
            <a:endParaRPr lang="en-US" altLang="ja-JP" sz="1200" b="1" i="0" dirty="0">
              <a:solidFill>
                <a:srgbClr val="000000"/>
              </a:solidFill>
              <a:effectLst/>
              <a:latin typeface="Meiryo" panose="020B0604030504040204" pitchFamily="50" charset="-128"/>
              <a:ea typeface="Meiryo" panose="020B0604030504040204" pitchFamily="50" charset="-128"/>
            </a:endParaRPr>
          </a:p>
        </p:txBody>
      </p:sp>
      <p:sp>
        <p:nvSpPr>
          <p:cNvPr id="7" name="テキスト ボックス 6">
            <a:extLst>
              <a:ext uri="{FF2B5EF4-FFF2-40B4-BE49-F238E27FC236}">
                <a16:creationId xmlns:a16="http://schemas.microsoft.com/office/drawing/2014/main" id="{3A26F60D-620B-77CC-4DAA-D6FC49720D1F}"/>
              </a:ext>
            </a:extLst>
          </p:cNvPr>
          <p:cNvSpPr txBox="1"/>
          <p:nvPr/>
        </p:nvSpPr>
        <p:spPr>
          <a:xfrm>
            <a:off x="4585270" y="5120748"/>
            <a:ext cx="2598267" cy="369332"/>
          </a:xfrm>
          <a:prstGeom prst="rect">
            <a:avLst/>
          </a:prstGeom>
          <a:noFill/>
        </p:spPr>
        <p:txBody>
          <a:bodyPr wrap="square" rtlCol="0">
            <a:spAutoFit/>
          </a:bodyPr>
          <a:lstStyle/>
          <a:p>
            <a:r>
              <a:rPr lang="ja-JP" altLang="en-US" b="1" u="sng" dirty="0">
                <a:solidFill>
                  <a:srgbClr val="009650"/>
                </a:solidFill>
                <a:latin typeface="Meiryo" panose="020B0604030504040204" pitchFamily="50" charset="-128"/>
                <a:ea typeface="Meiryo" panose="020B0604030504040204" pitchFamily="50" charset="-128"/>
              </a:rPr>
              <a:t>アクセスキーとは･･･</a:t>
            </a:r>
            <a:endParaRPr lang="ja-JP" altLang="en-US" b="1" i="0" u="sng" dirty="0">
              <a:solidFill>
                <a:srgbClr val="009650"/>
              </a:solidFill>
              <a:effectLst/>
              <a:latin typeface="Meiryo" panose="020B0604030504040204" pitchFamily="50" charset="-128"/>
              <a:ea typeface="Meiryo" panose="020B0604030504040204" pitchFamily="50" charset="-128"/>
            </a:endParaRPr>
          </a:p>
        </p:txBody>
      </p:sp>
      <p:sp>
        <p:nvSpPr>
          <p:cNvPr id="8" name="テキスト ボックス 7">
            <a:extLst>
              <a:ext uri="{FF2B5EF4-FFF2-40B4-BE49-F238E27FC236}">
                <a16:creationId xmlns:a16="http://schemas.microsoft.com/office/drawing/2014/main" id="{E1B8D62A-88DE-CE81-A10C-807973605DF6}"/>
              </a:ext>
            </a:extLst>
          </p:cNvPr>
          <p:cNvSpPr txBox="1"/>
          <p:nvPr/>
        </p:nvSpPr>
        <p:spPr>
          <a:xfrm>
            <a:off x="4686250" y="5400877"/>
            <a:ext cx="4134985" cy="1015663"/>
          </a:xfrm>
          <a:prstGeom prst="rect">
            <a:avLst/>
          </a:prstGeom>
          <a:noFill/>
        </p:spPr>
        <p:txBody>
          <a:bodyPr wrap="square">
            <a:spAutoFit/>
          </a:bodyPr>
          <a:lstStyle/>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の取得に必要な</a:t>
            </a:r>
            <a:r>
              <a:rPr lang="en-US" altLang="ja-JP" sz="1200" b="1" i="0" dirty="0">
                <a:solidFill>
                  <a:srgbClr val="00B050"/>
                </a:solidFill>
                <a:effectLst/>
                <a:latin typeface="Meiryo" panose="020B0604030504040204" pitchFamily="50" charset="-128"/>
                <a:ea typeface="Meiryo" panose="020B0604030504040204" pitchFamily="50" charset="-128"/>
              </a:rPr>
              <a:t>17</a:t>
            </a:r>
            <a:r>
              <a:rPr lang="ja-JP" altLang="en-US" sz="1200" b="1" i="0" dirty="0">
                <a:solidFill>
                  <a:srgbClr val="00B050"/>
                </a:solidFill>
                <a:effectLst/>
                <a:latin typeface="Meiryo" panose="020B0604030504040204" pitchFamily="50" charset="-128"/>
                <a:ea typeface="Meiryo" panose="020B0604030504040204" pitchFamily="50" charset="-128"/>
              </a:rPr>
              <a:t>桁の番号で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a:t>
            </a:r>
            <a:r>
              <a:rPr lang="ja-JP" altLang="en-US" sz="1200" b="1" i="0" dirty="0" err="1">
                <a:solidFill>
                  <a:srgbClr val="00B050"/>
                </a:solidFill>
                <a:effectLst/>
                <a:latin typeface="Meiryo" panose="020B0604030504040204" pitchFamily="50" charset="-128"/>
                <a:ea typeface="Meiryo" panose="020B0604030504040204" pitchFamily="50" charset="-128"/>
              </a:rPr>
              <a:t>ねんきん</a:t>
            </a:r>
            <a:r>
              <a:rPr lang="ja-JP" altLang="en-US" sz="1200" b="1" i="0" dirty="0">
                <a:solidFill>
                  <a:srgbClr val="00B050"/>
                </a:solidFill>
                <a:effectLst/>
                <a:latin typeface="Meiryo" panose="020B0604030504040204" pitchFamily="50" charset="-128"/>
                <a:ea typeface="Meiryo" panose="020B0604030504040204" pitchFamily="50" charset="-128"/>
              </a:rPr>
              <a:t>定期便」などに記載がされてい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を取得でき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アクセスキーがなくても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dirty="0">
                <a:solidFill>
                  <a:srgbClr val="00B050"/>
                </a:solidFill>
                <a:latin typeface="Meiryo" panose="020B0604030504040204" pitchFamily="50" charset="-128"/>
                <a:ea typeface="Meiryo" panose="020B0604030504040204" pitchFamily="50" charset="-128"/>
              </a:rPr>
              <a:t>は</a:t>
            </a:r>
            <a:r>
              <a:rPr lang="ja-JP" altLang="en-US" sz="1200" b="1" i="0" dirty="0">
                <a:solidFill>
                  <a:srgbClr val="00B050"/>
                </a:solidFill>
                <a:effectLst/>
                <a:latin typeface="Meiryo" panose="020B0604030504040204" pitchFamily="50" charset="-128"/>
                <a:ea typeface="Meiryo" panose="020B0604030504040204" pitchFamily="50" charset="-128"/>
              </a:rPr>
              <a:t>取得できます。）</a:t>
            </a:r>
          </a:p>
        </p:txBody>
      </p:sp>
      <p:cxnSp>
        <p:nvCxnSpPr>
          <p:cNvPr id="13" name="直線コネクタ 12">
            <a:extLst>
              <a:ext uri="{FF2B5EF4-FFF2-40B4-BE49-F238E27FC236}">
                <a16:creationId xmlns:a16="http://schemas.microsoft.com/office/drawing/2014/main" id="{25867745-90EC-4BA2-9B4C-B57BF801AB8C}"/>
              </a:ext>
            </a:extLst>
          </p:cNvPr>
          <p:cNvCxnSpPr/>
          <p:nvPr/>
        </p:nvCxnSpPr>
        <p:spPr>
          <a:xfrm>
            <a:off x="251999" y="184482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F4DC7AE9-389C-433D-94B8-13593592F4E0}"/>
              </a:ext>
            </a:extLst>
          </p:cNvPr>
          <p:cNvCxnSpPr>
            <a:cxnSpLocks/>
          </p:cNvCxnSpPr>
          <p:nvPr/>
        </p:nvCxnSpPr>
        <p:spPr>
          <a:xfrm>
            <a:off x="4572000" y="1844824"/>
            <a:ext cx="13270" cy="445338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471B40B1-B2DE-41A4-8EB6-63F678A373CC}"/>
              </a:ext>
            </a:extLst>
          </p:cNvPr>
          <p:cNvCxnSpPr>
            <a:cxnSpLocks/>
          </p:cNvCxnSpPr>
          <p:nvPr/>
        </p:nvCxnSpPr>
        <p:spPr>
          <a:xfrm>
            <a:off x="26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っているマイナちゃんのイラスト">
            <a:extLst>
              <a:ext uri="{FF2B5EF4-FFF2-40B4-BE49-F238E27FC236}">
                <a16:creationId xmlns:a16="http://schemas.microsoft.com/office/drawing/2014/main" id="{2CC4AACF-D988-453C-859B-BCBB0463030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3010" y="5371850"/>
            <a:ext cx="723392" cy="1250822"/>
          </a:xfrm>
          <a:prstGeom prst="rect">
            <a:avLst/>
          </a:prstGeom>
        </p:spPr>
      </p:pic>
      <p:cxnSp>
        <p:nvCxnSpPr>
          <p:cNvPr id="22" name="直線コネクタ 21">
            <a:extLst>
              <a:ext uri="{FF2B5EF4-FFF2-40B4-BE49-F238E27FC236}">
                <a16:creationId xmlns:a16="http://schemas.microsoft.com/office/drawing/2014/main" id="{F42AA3EE-C1A5-416F-BF66-0A30949CA47E}"/>
              </a:ext>
            </a:extLst>
          </p:cNvPr>
          <p:cNvCxnSpPr>
            <a:cxnSpLocks/>
          </p:cNvCxnSpPr>
          <p:nvPr/>
        </p:nvCxnSpPr>
        <p:spPr>
          <a:xfrm>
            <a:off x="458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ーブル, カレンダー&#10;&#10;自動的に生成された説明">
            <a:extLst>
              <a:ext uri="{FF2B5EF4-FFF2-40B4-BE49-F238E27FC236}">
                <a16:creationId xmlns:a16="http://schemas.microsoft.com/office/drawing/2014/main" id="{5C2D9F54-D4AB-8F1E-A309-18F7A9AD55A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417" y="2667676"/>
            <a:ext cx="1641381" cy="3410425"/>
          </a:xfrm>
          <a:prstGeom prst="rect">
            <a:avLst/>
          </a:prstGeom>
          <a:ln>
            <a:solidFill>
              <a:schemeClr val="tx1"/>
            </a:solidFill>
          </a:ln>
        </p:spPr>
      </p:pic>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39DAFDBD-4028-F6F7-4407-A4F0105E877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4" descr="携帯電話の画面&#10;&#10;説明は自動で生成されたものです">
            <a:extLst>
              <a:ext uri="{FF2B5EF4-FFF2-40B4-BE49-F238E27FC236}">
                <a16:creationId xmlns:a16="http://schemas.microsoft.com/office/drawing/2014/main" id="{D2743B86-00B7-E8B0-618B-598B57F306FE}"/>
              </a:ext>
            </a:extLst>
          </p:cNvPr>
          <p:cNvPicPr>
            <a:picLocks noChangeAspect="1"/>
          </p:cNvPicPr>
          <p:nvPr/>
        </p:nvPicPr>
        <p:blipFill>
          <a:blip r:embed="rId5"/>
          <a:stretch>
            <a:fillRect/>
          </a:stretch>
        </p:blipFill>
        <p:spPr>
          <a:xfrm>
            <a:off x="-98504" y="2438401"/>
            <a:ext cx="3839735" cy="3839735"/>
          </a:xfrm>
          <a:prstGeom prst="rect">
            <a:avLst/>
          </a:prstGeom>
        </p:spPr>
      </p:pic>
      <p:pic>
        <p:nvPicPr>
          <p:cNvPr id="11" name="図 10" descr="グラフィカル ユーザー インターフェイス, アプリケーション&#10;&#10;説明は自動で生成されたものです">
            <a:extLst>
              <a:ext uri="{FF2B5EF4-FFF2-40B4-BE49-F238E27FC236}">
                <a16:creationId xmlns:a16="http://schemas.microsoft.com/office/drawing/2014/main" id="{A83D327B-CEA7-8231-62A7-C483604BBCD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12" name="四角形: 角を丸くする 11">
            <a:extLst>
              <a:ext uri="{FF2B5EF4-FFF2-40B4-BE49-F238E27FC236}">
                <a16:creationId xmlns:a16="http://schemas.microsoft.com/office/drawing/2014/main" id="{DD702999-A8D7-3D46-BCC8-5B7480902836}"/>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88FB9519-0ECD-427E-0A36-791C5501CF7F}"/>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B777A67D-4894-F273-ADDC-EB1E2D414BF8}"/>
              </a:ext>
            </a:extLst>
          </p:cNvPr>
          <p:cNvPicPr>
            <a:picLocks noChangeAspect="1"/>
          </p:cNvPicPr>
          <p:nvPr/>
        </p:nvPicPr>
        <p:blipFill>
          <a:blip r:embed="rId7"/>
          <a:stretch>
            <a:fillRect/>
          </a:stretch>
        </p:blipFill>
        <p:spPr>
          <a:xfrm>
            <a:off x="1749232" y="2678500"/>
            <a:ext cx="134977" cy="134977"/>
          </a:xfrm>
          <a:prstGeom prst="rect">
            <a:avLst/>
          </a:prstGeom>
        </p:spPr>
      </p:pic>
      <p:sp>
        <p:nvSpPr>
          <p:cNvPr id="15" name="矢印: 右 14">
            <a:extLst>
              <a:ext uri="{FF2B5EF4-FFF2-40B4-BE49-F238E27FC236}">
                <a16:creationId xmlns:a16="http://schemas.microsoft.com/office/drawing/2014/main" id="{E9AA2815-DA67-BA08-DB55-979FFA965CE6}"/>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字幕 14">
            <a:extLst>
              <a:ext uri="{FF2B5EF4-FFF2-40B4-BE49-F238E27FC236}">
                <a16:creationId xmlns:a16="http://schemas.microsoft.com/office/drawing/2014/main" id="{AD8F110D-F2A5-5B87-D812-F4F6872A15A6}"/>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17" name="テキスト ボックス 16">
            <a:extLst>
              <a:ext uri="{FF2B5EF4-FFF2-40B4-BE49-F238E27FC236}">
                <a16:creationId xmlns:a16="http://schemas.microsoft.com/office/drawing/2014/main" id="{5A59481E-EC44-9786-77A1-DD30BE4ECF3A}"/>
              </a:ext>
            </a:extLst>
          </p:cNvPr>
          <p:cNvSpPr txBox="1"/>
          <p:nvPr/>
        </p:nvSpPr>
        <p:spPr>
          <a:xfrm>
            <a:off x="5940152" y="1803593"/>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5C6237FE-4635-782E-F7FE-0367163C63E9}"/>
              </a:ext>
            </a:extLst>
          </p:cNvPr>
          <p:cNvSpPr txBox="1"/>
          <p:nvPr/>
        </p:nvSpPr>
        <p:spPr>
          <a:xfrm>
            <a:off x="3173134" y="18448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8AD63943-0C2D-76D5-FF52-E08F9C32F3B1}"/>
              </a:ext>
            </a:extLst>
          </p:cNvPr>
          <p:cNvSpPr txBox="1"/>
          <p:nvPr/>
        </p:nvSpPr>
        <p:spPr>
          <a:xfrm>
            <a:off x="403237" y="1836113"/>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671AD8BE-1BAB-6C43-67A9-BACE53A49CEF}"/>
              </a:ext>
            </a:extLst>
          </p:cNvPr>
          <p:cNvSpPr txBox="1"/>
          <p:nvPr/>
        </p:nvSpPr>
        <p:spPr>
          <a:xfrm>
            <a:off x="878376" y="1980129"/>
            <a:ext cx="2681366"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Chrome</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22" name="テキスト ボックス 21">
            <a:extLst>
              <a:ext uri="{FF2B5EF4-FFF2-40B4-BE49-F238E27FC236}">
                <a16:creationId xmlns:a16="http://schemas.microsoft.com/office/drawing/2014/main" id="{38F7F14C-9CC7-AC1B-98C9-23C16A112E2E}"/>
              </a:ext>
            </a:extLst>
          </p:cNvPr>
          <p:cNvSpPr txBox="1"/>
          <p:nvPr/>
        </p:nvSpPr>
        <p:spPr>
          <a:xfrm>
            <a:off x="3693943" y="1916832"/>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99DB6782-2C34-05F3-8112-D3DA2E72F8C7}"/>
              </a:ext>
            </a:extLst>
          </p:cNvPr>
          <p:cNvSpPr txBox="1"/>
          <p:nvPr/>
        </p:nvSpPr>
        <p:spPr>
          <a:xfrm>
            <a:off x="6469637" y="1877923"/>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pic>
        <p:nvPicPr>
          <p:cNvPr id="24" name="図 23" descr="アイコン&#10;&#10;中程度の精度で自動的に生成された説明">
            <a:extLst>
              <a:ext uri="{FF2B5EF4-FFF2-40B4-BE49-F238E27FC236}">
                <a16:creationId xmlns:a16="http://schemas.microsoft.com/office/drawing/2014/main" id="{10BA79CD-E9EF-CF4A-A157-D7583DFAECA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16917" y="1918503"/>
            <a:ext cx="401067" cy="401067"/>
          </a:xfrm>
          <a:prstGeom prst="rect">
            <a:avLst/>
          </a:prstGeom>
        </p:spPr>
      </p:pic>
      <p:grpSp>
        <p:nvGrpSpPr>
          <p:cNvPr id="25" name="図形グループ 108">
            <a:extLst>
              <a:ext uri="{FF2B5EF4-FFF2-40B4-BE49-F238E27FC236}">
                <a16:creationId xmlns:a16="http://schemas.microsoft.com/office/drawing/2014/main" id="{EA83A00F-5627-73AF-CB25-B8DCB79016F7}"/>
              </a:ext>
            </a:extLst>
          </p:cNvPr>
          <p:cNvGrpSpPr/>
          <p:nvPr/>
        </p:nvGrpSpPr>
        <p:grpSpPr>
          <a:xfrm>
            <a:off x="1459599" y="4869160"/>
            <a:ext cx="296587" cy="293005"/>
            <a:chOff x="2897417" y="3995693"/>
            <a:chExt cx="296587" cy="293005"/>
          </a:xfrm>
        </p:grpSpPr>
        <p:sp>
          <p:nvSpPr>
            <p:cNvPr id="26" name="円/楕円 114">
              <a:extLst>
                <a:ext uri="{FF2B5EF4-FFF2-40B4-BE49-F238E27FC236}">
                  <a16:creationId xmlns:a16="http://schemas.microsoft.com/office/drawing/2014/main" id="{1FE77F83-7E3B-31E6-182F-90E23BFBD67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E00308E0-BE11-CCCB-674A-F2B04B3FFF9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8" name="図形グループ 93">
            <a:extLst>
              <a:ext uri="{FF2B5EF4-FFF2-40B4-BE49-F238E27FC236}">
                <a16:creationId xmlns:a16="http://schemas.microsoft.com/office/drawing/2014/main" id="{14B5E4E0-BCA9-8721-610E-D1838C562B8A}"/>
              </a:ext>
            </a:extLst>
          </p:cNvPr>
          <p:cNvGrpSpPr/>
          <p:nvPr/>
        </p:nvGrpSpPr>
        <p:grpSpPr>
          <a:xfrm>
            <a:off x="3592938" y="2907852"/>
            <a:ext cx="296586" cy="293005"/>
            <a:chOff x="3546641" y="3995693"/>
            <a:chExt cx="296586" cy="293005"/>
          </a:xfrm>
        </p:grpSpPr>
        <p:sp>
          <p:nvSpPr>
            <p:cNvPr id="29" name="円/楕円 106">
              <a:extLst>
                <a:ext uri="{FF2B5EF4-FFF2-40B4-BE49-F238E27FC236}">
                  <a16:creationId xmlns:a16="http://schemas.microsoft.com/office/drawing/2014/main" id="{D5E929FD-BFA2-9513-5C72-6602BB0DCF5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107">
              <a:extLst>
                <a:ext uri="{FF2B5EF4-FFF2-40B4-BE49-F238E27FC236}">
                  <a16:creationId xmlns:a16="http://schemas.microsoft.com/office/drawing/2014/main" id="{EE401051-1466-D5D3-3AD7-7FE0205BD18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四角形: 角を丸くする 30">
            <a:extLst>
              <a:ext uri="{FF2B5EF4-FFF2-40B4-BE49-F238E27FC236}">
                <a16:creationId xmlns:a16="http://schemas.microsoft.com/office/drawing/2014/main" id="{AD254F4E-07F6-7040-71FC-3D13A6F9AD85}"/>
              </a:ext>
            </a:extLst>
          </p:cNvPr>
          <p:cNvSpPr/>
          <p:nvPr/>
        </p:nvSpPr>
        <p:spPr>
          <a:xfrm>
            <a:off x="6696591" y="2811726"/>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矢印: 右 31">
            <a:extLst>
              <a:ext uri="{FF2B5EF4-FFF2-40B4-BE49-F238E27FC236}">
                <a16:creationId xmlns:a16="http://schemas.microsoft.com/office/drawing/2014/main" id="{9A522076-1AE4-AF3F-8220-0F515C666DCA}"/>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33" name="図形グループ 69">
            <a:extLst>
              <a:ext uri="{FF2B5EF4-FFF2-40B4-BE49-F238E27FC236}">
                <a16:creationId xmlns:a16="http://schemas.microsoft.com/office/drawing/2014/main" id="{D3E39895-F5C6-3F34-098D-CD3A2A556F3E}"/>
              </a:ext>
            </a:extLst>
          </p:cNvPr>
          <p:cNvGrpSpPr/>
          <p:nvPr/>
        </p:nvGrpSpPr>
        <p:grpSpPr>
          <a:xfrm>
            <a:off x="6400005" y="2666974"/>
            <a:ext cx="296586" cy="293005"/>
            <a:chOff x="4232441" y="3995693"/>
            <a:chExt cx="296586" cy="293005"/>
          </a:xfrm>
        </p:grpSpPr>
        <p:sp>
          <p:nvSpPr>
            <p:cNvPr id="34" name="円/楕円 70">
              <a:extLst>
                <a:ext uri="{FF2B5EF4-FFF2-40B4-BE49-F238E27FC236}">
                  <a16:creationId xmlns:a16="http://schemas.microsoft.com/office/drawing/2014/main" id="{E348BAE6-9D9A-6F3B-A466-41C90E1DD63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71">
              <a:extLst>
                <a:ext uri="{FF2B5EF4-FFF2-40B4-BE49-F238E27FC236}">
                  <a16:creationId xmlns:a16="http://schemas.microsoft.com/office/drawing/2014/main" id="{5C9E227F-DE33-1CC6-B677-CAD2B3795B6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6882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10;&#10;自動的に生成された説明">
            <a:extLst>
              <a:ext uri="{FF2B5EF4-FFF2-40B4-BE49-F238E27FC236}">
                <a16:creationId xmlns:a16="http://schemas.microsoft.com/office/drawing/2014/main" id="{35AC95B7-8749-4D11-6C43-A4CB45163E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1602" y="2671088"/>
            <a:ext cx="1637053" cy="3401431"/>
          </a:xfrm>
          <a:prstGeom prst="rect">
            <a:avLst/>
          </a:prstGeom>
          <a:ln>
            <a:solidFill>
              <a:schemeClr val="tx1"/>
            </a:solidFill>
          </a:ln>
        </p:spPr>
      </p:pic>
      <p:pic>
        <p:nvPicPr>
          <p:cNvPr id="27" name="図 26" descr="グラフィカル ユーザー インターフェイス, テキスト, アプリケーション, メール&#10;&#10;自動的に生成された説明">
            <a:extLst>
              <a:ext uri="{FF2B5EF4-FFF2-40B4-BE49-F238E27FC236}">
                <a16:creationId xmlns:a16="http://schemas.microsoft.com/office/drawing/2014/main" id="{92634463-9A3E-0F34-C1A9-099C50E6914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34786" y="2636909"/>
            <a:ext cx="1637053" cy="3401431"/>
          </a:xfrm>
          <a:prstGeom prst="rect">
            <a:avLst/>
          </a:prstGeom>
          <a:ln>
            <a:solidFill>
              <a:schemeClr val="tx1"/>
            </a:solidFill>
          </a:ln>
        </p:spPr>
      </p:pic>
      <p:pic>
        <p:nvPicPr>
          <p:cNvPr id="26" name="図 25" descr="テーブル, カレンダー&#10;&#10;自動的に生成された説明">
            <a:extLst>
              <a:ext uri="{FF2B5EF4-FFF2-40B4-BE49-F238E27FC236}">
                <a16:creationId xmlns:a16="http://schemas.microsoft.com/office/drawing/2014/main" id="{652B79A5-98D3-9628-504F-3F0A482861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71532" y="2636911"/>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7" y="1988770"/>
            <a:ext cx="2190498"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0" y="1987450"/>
            <a:ext cx="268764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299984" y="1844824"/>
            <a:ext cx="2336212"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　</a:t>
            </a:r>
            <a:endParaRPr lang="en-US" altLang="ja-JP" sz="1500" b="1" dirty="0">
              <a:latin typeface="メイリオ"/>
              <a:ea typeface="メイリオ"/>
            </a:endParaRPr>
          </a:p>
          <a:p>
            <a:r>
              <a:rPr lang="ja-JP" altLang="en-US" sz="1500" b="1" dirty="0">
                <a:latin typeface="メイリオ"/>
                <a:ea typeface="メイリオ"/>
              </a:rPr>
              <a:t>　　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34786" y="3524827"/>
            <a:ext cx="1642826" cy="62503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45912" y="3339185"/>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14">
            <a:extLst>
              <a:ext uri="{FF2B5EF4-FFF2-40B4-BE49-F238E27FC236}">
                <a16:creationId xmlns:a16="http://schemas.microsoft.com/office/drawing/2014/main" id="{7A60C21D-79C7-4855-8AB7-89F66E2DE790}"/>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190244" y="2647856"/>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88585" y="2270541"/>
            <a:ext cx="298119" cy="208121"/>
          </a:xfrm>
          <a:prstGeom prst="rect">
            <a:avLst/>
          </a:prstGeom>
        </p:spPr>
      </p:pic>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Tree>
    <p:extLst>
      <p:ext uri="{BB962C8B-B14F-4D97-AF65-F5344CB8AC3E}">
        <p14:creationId xmlns:p14="http://schemas.microsoft.com/office/powerpoint/2010/main" val="2969866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8FC5EA13524B040B8FB4A24C9C48CB1" ma:contentTypeVersion="1" ma:contentTypeDescription="Create a new document." ma:contentTypeScope="" ma:versionID="128d723f0e7cd1d097b8ec7dd37d6063">
  <xsd:schema xmlns:xsd="http://www.w3.org/2001/XMLSchema" xmlns:xs="http://www.w3.org/2001/XMLSchema" xmlns:p="http://schemas.microsoft.com/office/2006/metadata/properties" xmlns:ns2="1c316a70-1c3f-4244-a711-26590f222ff0" targetNamespace="http://schemas.microsoft.com/office/2006/metadata/properties" ma:root="true" ma:fieldsID="e308ae570fd73c0fe621d1b6db3dc176" ns2:_="">
    <xsd:import namespace="1c316a70-1c3f-4244-a711-26590f222ff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16a70-1c3f-4244-a711-26590f222f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15E8DA-084D-4CA5-B090-A9E2B6EA903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B8E12C2-2C7F-4879-B5CC-2208D5397B4C}">
  <ds:schemaRefs>
    <ds:schemaRef ds:uri="http://schemas.microsoft.com/sharepoint/v3/contenttype/forms"/>
  </ds:schemaRefs>
</ds:datastoreItem>
</file>

<file path=customXml/itemProps3.xml><?xml version="1.0" encoding="utf-8"?>
<ds:datastoreItem xmlns:ds="http://schemas.openxmlformats.org/officeDocument/2006/customXml" ds:itemID="{8537ED55-0382-46BD-B22F-B817B27111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316a70-1c3f-4244-a711-26590f222f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394</Words>
  <PresentationFormat>画面に合わせる (4:3)</PresentationFormat>
  <Paragraphs>503</Paragraphs>
  <Slides>38</Slides>
  <Notes>38</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7" baseType="lpstr">
      <vt:lpstr>Meiryo</vt:lpstr>
      <vt:lpstr>Meiryo</vt:lpstr>
      <vt:lpstr>游ゴシック</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ねんきんネット」とは？</vt:lpstr>
      <vt:lpstr>「ねんきんネット」で出来ること</vt:lpstr>
      <vt:lpstr>PowerPoint プレゼンテーション</vt:lpstr>
      <vt:lpstr>「ねんきんネット」の登録方法</vt:lpstr>
      <vt:lpstr>「ねんきんネット」の登録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ねんきんネット」のログイン方法</vt:lpstr>
      <vt:lpstr>「ねんきんネット」のログイン方法</vt:lpstr>
      <vt:lpstr>「ねんきんネット」のログイン方法</vt:lpstr>
      <vt:lpstr>PowerPoint プレゼンテーション</vt:lpstr>
      <vt:lpstr>こんな時に「ねんきんネット」</vt:lpstr>
      <vt:lpstr>こんな時に「ねんきんネット」</vt:lpstr>
      <vt:lpstr>こんな時に「ねんきんネット」</vt:lpstr>
      <vt:lpstr>こんな時に「ねんきんネット」</vt:lpstr>
      <vt:lpstr>こんな時に「ねんきんネット」</vt:lpstr>
      <vt:lpstr>こんな時に「ねんきんネット」</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4-03-26T04:02:11Z</dcterms:created>
  <dcterms:modified xsi:type="dcterms:W3CDTF">2024-07-06T10: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FC5EA13524B040B8FB4A24C9C48CB1</vt:lpwstr>
  </property>
</Properties>
</file>